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78" r:id="rId2"/>
    <p:sldId id="299" r:id="rId3"/>
    <p:sldId id="261" r:id="rId4"/>
    <p:sldId id="262" r:id="rId5"/>
    <p:sldId id="263" r:id="rId6"/>
    <p:sldId id="264" r:id="rId7"/>
    <p:sldId id="265" r:id="rId8"/>
    <p:sldId id="267" r:id="rId9"/>
    <p:sldId id="297" r:id="rId10"/>
    <p:sldId id="295" r:id="rId11"/>
    <p:sldId id="296" r:id="rId12"/>
    <p:sldId id="302" r:id="rId13"/>
    <p:sldId id="303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zJeU7P4PzHGeAZ94EJtGVw==" hashData="z0kUjdneeEGhacTtdKr0RZSCMNkuLqdiYcqhejPeF0jBl4zanTpR3u1OxIgkUhDefQ6Mjq2CWHfKMHh3AzblcQ=="/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42700"/>
    <a:srgbClr val="C02500"/>
    <a:srgbClr val="003E00"/>
    <a:srgbClr val="00FA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89" d="100"/>
          <a:sy n="89" d="100"/>
        </p:scale>
        <p:origin x="120" y="1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81744-21AE-4106-BE69-E840DED9618E}" type="datetimeFigureOut">
              <a:rPr lang="en-US" smtClean="0"/>
              <a:t>23-Dec-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28ECD9-3996-4157-9DCE-AF3629DF4C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82469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1ED68-BE51-45AC-9267-ACA2E3856686}" type="datetimeFigureOut">
              <a:rPr lang="en-US" smtClean="0"/>
              <a:t>23-Dec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3235BD-F3A3-4FED-B5E5-FFB170776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59300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1ED68-BE51-45AC-9267-ACA2E3856686}" type="datetimeFigureOut">
              <a:rPr lang="en-US" smtClean="0"/>
              <a:t>23-Dec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3235BD-F3A3-4FED-B5E5-FFB170776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5713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1ED68-BE51-45AC-9267-ACA2E3856686}" type="datetimeFigureOut">
              <a:rPr lang="en-US" smtClean="0"/>
              <a:t>23-Dec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3235BD-F3A3-4FED-B5E5-FFB170776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78807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1ED68-BE51-45AC-9267-ACA2E3856686}" type="datetimeFigureOut">
              <a:rPr lang="en-US" smtClean="0"/>
              <a:t>23-Dec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3235BD-F3A3-4FED-B5E5-FFB170776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50642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1ED68-BE51-45AC-9267-ACA2E3856686}" type="datetimeFigureOut">
              <a:rPr lang="en-US" smtClean="0"/>
              <a:t>23-Dec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3235BD-F3A3-4FED-B5E5-FFB170776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5432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1ED68-BE51-45AC-9267-ACA2E3856686}" type="datetimeFigureOut">
              <a:rPr lang="en-US" smtClean="0"/>
              <a:t>23-Dec-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3235BD-F3A3-4FED-B5E5-FFB170776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6749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1ED68-BE51-45AC-9267-ACA2E3856686}" type="datetimeFigureOut">
              <a:rPr lang="en-US" smtClean="0"/>
              <a:t>23-Dec-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3235BD-F3A3-4FED-B5E5-FFB170776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37770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1ED68-BE51-45AC-9267-ACA2E3856686}" type="datetimeFigureOut">
              <a:rPr lang="en-US" smtClean="0"/>
              <a:t>23-Dec-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3235BD-F3A3-4FED-B5E5-FFB170776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8649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1ED68-BE51-45AC-9267-ACA2E3856686}" type="datetimeFigureOut">
              <a:rPr lang="en-US" smtClean="0"/>
              <a:t>23-Dec-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3235BD-F3A3-4FED-B5E5-FFB170776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65539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1ED68-BE51-45AC-9267-ACA2E3856686}" type="datetimeFigureOut">
              <a:rPr lang="en-US" smtClean="0"/>
              <a:t>23-Dec-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3235BD-F3A3-4FED-B5E5-FFB170776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20614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1ED68-BE51-45AC-9267-ACA2E3856686}" type="datetimeFigureOut">
              <a:rPr lang="en-US" smtClean="0"/>
              <a:t>23-Dec-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3235BD-F3A3-4FED-B5E5-FFB170776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6011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01ED68-BE51-45AC-9267-ACA2E3856686}" type="datetimeFigureOut">
              <a:rPr lang="en-US" smtClean="0"/>
              <a:t>23-Dec-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3235BD-F3A3-4FED-B5E5-FFB170776B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6007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slideLayout" Target="../slideLayouts/slideLayout2.xml"/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5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9470"/>
          </a:xfrm>
          <a:prstGeom prst="rect">
            <a:avLst/>
          </a:prstGeom>
        </p:spPr>
      </p:pic>
      <p:grpSp>
        <p:nvGrpSpPr>
          <p:cNvPr id="55" name="Group 54"/>
          <p:cNvGrpSpPr/>
          <p:nvPr/>
        </p:nvGrpSpPr>
        <p:grpSpPr>
          <a:xfrm>
            <a:off x="0" y="1"/>
            <a:ext cx="12192000" cy="6858000"/>
            <a:chOff x="0" y="0"/>
            <a:chExt cx="12192000" cy="6858000"/>
          </a:xfrm>
        </p:grpSpPr>
        <p:sp>
          <p:nvSpPr>
            <p:cNvPr id="45" name="Freeform 44"/>
            <p:cNvSpPr/>
            <p:nvPr/>
          </p:nvSpPr>
          <p:spPr>
            <a:xfrm>
              <a:off x="0" y="0"/>
              <a:ext cx="1432322" cy="1285440"/>
            </a:xfrm>
            <a:custGeom>
              <a:avLst/>
              <a:gdLst>
                <a:gd name="connsiteX0" fmla="*/ 86533 w 521323"/>
                <a:gd name="connsiteY0" fmla="*/ 0 h 458726"/>
                <a:gd name="connsiteX1" fmla="*/ 521323 w 521323"/>
                <a:gd name="connsiteY1" fmla="*/ 0 h 458726"/>
                <a:gd name="connsiteX2" fmla="*/ 484732 w 521323"/>
                <a:gd name="connsiteY2" fmla="*/ 17627 h 458726"/>
                <a:gd name="connsiteX3" fmla="*/ 1166 w 521323"/>
                <a:gd name="connsiteY3" fmla="*/ 456807 h 458726"/>
                <a:gd name="connsiteX4" fmla="*/ 0 w 521323"/>
                <a:gd name="connsiteY4" fmla="*/ 458726 h 458726"/>
                <a:gd name="connsiteX5" fmla="*/ 0 w 521323"/>
                <a:gd name="connsiteY5" fmla="*/ 47967 h 458726"/>
                <a:gd name="connsiteX6" fmla="*/ 49942 w 521323"/>
                <a:gd name="connsiteY6" fmla="*/ 17627 h 458726"/>
                <a:gd name="connsiteX7" fmla="*/ 86533 w 521323"/>
                <a:gd name="connsiteY7" fmla="*/ 0 h 458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1323" h="458726">
                  <a:moveTo>
                    <a:pt x="86533" y="0"/>
                  </a:moveTo>
                  <a:lnTo>
                    <a:pt x="521323" y="0"/>
                  </a:lnTo>
                  <a:lnTo>
                    <a:pt x="484732" y="17627"/>
                  </a:lnTo>
                  <a:cubicBezTo>
                    <a:pt x="290386" y="123202"/>
                    <a:pt x="124409" y="274383"/>
                    <a:pt x="1166" y="456807"/>
                  </a:cubicBezTo>
                  <a:lnTo>
                    <a:pt x="0" y="458726"/>
                  </a:lnTo>
                  <a:lnTo>
                    <a:pt x="0" y="47967"/>
                  </a:lnTo>
                  <a:lnTo>
                    <a:pt x="49942" y="17627"/>
                  </a:lnTo>
                  <a:lnTo>
                    <a:pt x="86533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8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Freeform 40"/>
            <p:cNvSpPr/>
            <p:nvPr/>
          </p:nvSpPr>
          <p:spPr>
            <a:xfrm>
              <a:off x="0" y="5572557"/>
              <a:ext cx="1432327" cy="1285443"/>
            </a:xfrm>
            <a:custGeom>
              <a:avLst/>
              <a:gdLst>
                <a:gd name="connsiteX0" fmla="*/ 0 w 521325"/>
                <a:gd name="connsiteY0" fmla="*/ 0 h 458727"/>
                <a:gd name="connsiteX1" fmla="*/ 1166 w 521325"/>
                <a:gd name="connsiteY1" fmla="*/ 1919 h 458727"/>
                <a:gd name="connsiteX2" fmla="*/ 484732 w 521325"/>
                <a:gd name="connsiteY2" fmla="*/ 441099 h 458727"/>
                <a:gd name="connsiteX3" fmla="*/ 521325 w 521325"/>
                <a:gd name="connsiteY3" fmla="*/ 458727 h 458727"/>
                <a:gd name="connsiteX4" fmla="*/ 86535 w 521325"/>
                <a:gd name="connsiteY4" fmla="*/ 458727 h 458727"/>
                <a:gd name="connsiteX5" fmla="*/ 49942 w 521325"/>
                <a:gd name="connsiteY5" fmla="*/ 441099 h 458727"/>
                <a:gd name="connsiteX6" fmla="*/ 0 w 521325"/>
                <a:gd name="connsiteY6" fmla="*/ 410759 h 458727"/>
                <a:gd name="connsiteX7" fmla="*/ 0 w 521325"/>
                <a:gd name="connsiteY7" fmla="*/ 0 h 458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1325" h="458727">
                  <a:moveTo>
                    <a:pt x="0" y="0"/>
                  </a:moveTo>
                  <a:lnTo>
                    <a:pt x="1166" y="1919"/>
                  </a:lnTo>
                  <a:cubicBezTo>
                    <a:pt x="124409" y="184343"/>
                    <a:pt x="290386" y="335524"/>
                    <a:pt x="484732" y="441099"/>
                  </a:cubicBezTo>
                  <a:lnTo>
                    <a:pt x="521325" y="458727"/>
                  </a:lnTo>
                  <a:lnTo>
                    <a:pt x="86535" y="458727"/>
                  </a:lnTo>
                  <a:lnTo>
                    <a:pt x="49942" y="441099"/>
                  </a:lnTo>
                  <a:lnTo>
                    <a:pt x="0" y="4107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8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Freeform 33"/>
            <p:cNvSpPr/>
            <p:nvPr/>
          </p:nvSpPr>
          <p:spPr>
            <a:xfrm>
              <a:off x="0" y="3"/>
              <a:ext cx="237747" cy="134413"/>
            </a:xfrm>
            <a:custGeom>
              <a:avLst/>
              <a:gdLst>
                <a:gd name="connsiteX0" fmla="*/ 0 w 86533"/>
                <a:gd name="connsiteY0" fmla="*/ 0 h 47967"/>
                <a:gd name="connsiteX1" fmla="*/ 86533 w 86533"/>
                <a:gd name="connsiteY1" fmla="*/ 0 h 47967"/>
                <a:gd name="connsiteX2" fmla="*/ 49942 w 86533"/>
                <a:gd name="connsiteY2" fmla="*/ 17627 h 47967"/>
                <a:gd name="connsiteX3" fmla="*/ 0 w 86533"/>
                <a:gd name="connsiteY3" fmla="*/ 47967 h 47967"/>
                <a:gd name="connsiteX4" fmla="*/ 0 w 86533"/>
                <a:gd name="connsiteY4" fmla="*/ 0 h 47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533" h="47967">
                  <a:moveTo>
                    <a:pt x="0" y="0"/>
                  </a:moveTo>
                  <a:lnTo>
                    <a:pt x="86533" y="0"/>
                  </a:lnTo>
                  <a:lnTo>
                    <a:pt x="49942" y="17627"/>
                  </a:lnTo>
                  <a:lnTo>
                    <a:pt x="0" y="479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8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Freeform 31"/>
            <p:cNvSpPr/>
            <p:nvPr/>
          </p:nvSpPr>
          <p:spPr>
            <a:xfrm>
              <a:off x="3629197" y="3"/>
              <a:ext cx="3267289" cy="6857997"/>
            </a:xfrm>
            <a:custGeom>
              <a:avLst/>
              <a:gdLst>
                <a:gd name="connsiteX0" fmla="*/ 2 w 1189197"/>
                <a:gd name="connsiteY0" fmla="*/ 0 h 2447365"/>
                <a:gd name="connsiteX1" fmla="*/ 434792 w 1189197"/>
                <a:gd name="connsiteY1" fmla="*/ 0 h 2447365"/>
                <a:gd name="connsiteX2" fmla="*/ 471383 w 1189197"/>
                <a:gd name="connsiteY2" fmla="*/ 17627 h 2447365"/>
                <a:gd name="connsiteX3" fmla="*/ 1189197 w 1189197"/>
                <a:gd name="connsiteY3" fmla="*/ 1223682 h 2447365"/>
                <a:gd name="connsiteX4" fmla="*/ 471383 w 1189197"/>
                <a:gd name="connsiteY4" fmla="*/ 2429737 h 2447365"/>
                <a:gd name="connsiteX5" fmla="*/ 434790 w 1189197"/>
                <a:gd name="connsiteY5" fmla="*/ 2447365 h 2447365"/>
                <a:gd name="connsiteX6" fmla="*/ 0 w 1189197"/>
                <a:gd name="connsiteY6" fmla="*/ 2447365 h 2447365"/>
                <a:gd name="connsiteX7" fmla="*/ 36593 w 1189197"/>
                <a:gd name="connsiteY7" fmla="*/ 2429737 h 2447365"/>
                <a:gd name="connsiteX8" fmla="*/ 754407 w 1189197"/>
                <a:gd name="connsiteY8" fmla="*/ 1223682 h 2447365"/>
                <a:gd name="connsiteX9" fmla="*/ 36593 w 1189197"/>
                <a:gd name="connsiteY9" fmla="*/ 17627 h 2447365"/>
                <a:gd name="connsiteX10" fmla="*/ 2 w 1189197"/>
                <a:gd name="connsiteY10" fmla="*/ 0 h 2447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89197" h="2447365">
                  <a:moveTo>
                    <a:pt x="2" y="0"/>
                  </a:moveTo>
                  <a:lnTo>
                    <a:pt x="434792" y="0"/>
                  </a:lnTo>
                  <a:lnTo>
                    <a:pt x="471383" y="17627"/>
                  </a:lnTo>
                  <a:cubicBezTo>
                    <a:pt x="898945" y="249893"/>
                    <a:pt x="1189197" y="702891"/>
                    <a:pt x="1189197" y="1223682"/>
                  </a:cubicBezTo>
                  <a:cubicBezTo>
                    <a:pt x="1189197" y="1744473"/>
                    <a:pt x="898945" y="2197472"/>
                    <a:pt x="471383" y="2429737"/>
                  </a:cubicBezTo>
                  <a:lnTo>
                    <a:pt x="434790" y="2447365"/>
                  </a:lnTo>
                  <a:lnTo>
                    <a:pt x="0" y="2447365"/>
                  </a:lnTo>
                  <a:lnTo>
                    <a:pt x="36593" y="2429737"/>
                  </a:lnTo>
                  <a:cubicBezTo>
                    <a:pt x="464155" y="2197472"/>
                    <a:pt x="754407" y="1744473"/>
                    <a:pt x="754407" y="1223682"/>
                  </a:cubicBezTo>
                  <a:cubicBezTo>
                    <a:pt x="754407" y="702891"/>
                    <a:pt x="464155" y="249893"/>
                    <a:pt x="36593" y="17627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8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Freeform 30"/>
            <p:cNvSpPr/>
            <p:nvPr/>
          </p:nvSpPr>
          <p:spPr>
            <a:xfrm>
              <a:off x="5907511" y="3"/>
              <a:ext cx="6284489" cy="6857997"/>
            </a:xfrm>
            <a:custGeom>
              <a:avLst/>
              <a:gdLst>
                <a:gd name="connsiteX0" fmla="*/ 2 w 2287369"/>
                <a:gd name="connsiteY0" fmla="*/ 0 h 2447365"/>
                <a:gd name="connsiteX1" fmla="*/ 2287369 w 2287369"/>
                <a:gd name="connsiteY1" fmla="*/ 0 h 2447365"/>
                <a:gd name="connsiteX2" fmla="*/ 2287369 w 2287369"/>
                <a:gd name="connsiteY2" fmla="*/ 2447365 h 2447365"/>
                <a:gd name="connsiteX3" fmla="*/ 0 w 2287369"/>
                <a:gd name="connsiteY3" fmla="*/ 2447365 h 2447365"/>
                <a:gd name="connsiteX4" fmla="*/ 36593 w 2287369"/>
                <a:gd name="connsiteY4" fmla="*/ 2429737 h 2447365"/>
                <a:gd name="connsiteX5" fmla="*/ 754407 w 2287369"/>
                <a:gd name="connsiteY5" fmla="*/ 1223682 h 2447365"/>
                <a:gd name="connsiteX6" fmla="*/ 36593 w 2287369"/>
                <a:gd name="connsiteY6" fmla="*/ 17627 h 2447365"/>
                <a:gd name="connsiteX7" fmla="*/ 2 w 2287369"/>
                <a:gd name="connsiteY7" fmla="*/ 0 h 2447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87369" h="2447365">
                  <a:moveTo>
                    <a:pt x="2" y="0"/>
                  </a:moveTo>
                  <a:lnTo>
                    <a:pt x="2287369" y="0"/>
                  </a:lnTo>
                  <a:lnTo>
                    <a:pt x="2287369" y="2447365"/>
                  </a:lnTo>
                  <a:lnTo>
                    <a:pt x="0" y="2447365"/>
                  </a:lnTo>
                  <a:lnTo>
                    <a:pt x="36593" y="2429737"/>
                  </a:lnTo>
                  <a:cubicBezTo>
                    <a:pt x="464155" y="2197472"/>
                    <a:pt x="754407" y="1744473"/>
                    <a:pt x="754407" y="1223682"/>
                  </a:cubicBezTo>
                  <a:cubicBezTo>
                    <a:pt x="754407" y="702891"/>
                    <a:pt x="464155" y="249893"/>
                    <a:pt x="36593" y="17627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8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Freeform 28"/>
            <p:cNvSpPr/>
            <p:nvPr/>
          </p:nvSpPr>
          <p:spPr>
            <a:xfrm>
              <a:off x="0" y="6723581"/>
              <a:ext cx="237753" cy="134416"/>
            </a:xfrm>
            <a:custGeom>
              <a:avLst/>
              <a:gdLst>
                <a:gd name="connsiteX0" fmla="*/ 0 w 86535"/>
                <a:gd name="connsiteY0" fmla="*/ 0 h 47968"/>
                <a:gd name="connsiteX1" fmla="*/ 49942 w 86535"/>
                <a:gd name="connsiteY1" fmla="*/ 30340 h 47968"/>
                <a:gd name="connsiteX2" fmla="*/ 86535 w 86535"/>
                <a:gd name="connsiteY2" fmla="*/ 47968 h 47968"/>
                <a:gd name="connsiteX3" fmla="*/ 0 w 86535"/>
                <a:gd name="connsiteY3" fmla="*/ 47968 h 47968"/>
                <a:gd name="connsiteX4" fmla="*/ 0 w 86535"/>
                <a:gd name="connsiteY4" fmla="*/ 0 h 4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535" h="47968">
                  <a:moveTo>
                    <a:pt x="0" y="0"/>
                  </a:moveTo>
                  <a:lnTo>
                    <a:pt x="49942" y="30340"/>
                  </a:lnTo>
                  <a:lnTo>
                    <a:pt x="86535" y="47968"/>
                  </a:lnTo>
                  <a:lnTo>
                    <a:pt x="0" y="479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75000"/>
                <a:alpha val="8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4" name="TextBox 53"/>
          <p:cNvSpPr txBox="1"/>
          <p:nvPr/>
        </p:nvSpPr>
        <p:spPr>
          <a:xfrm>
            <a:off x="7866529" y="1600200"/>
            <a:ext cx="432547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b="1" dirty="0" err="1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আজকের</a:t>
            </a:r>
            <a:r>
              <a:rPr lang="en-US" sz="6000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6000" b="1" dirty="0" err="1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ক্লাশে</a:t>
            </a:r>
            <a:endParaRPr lang="en-US" sz="6000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57" name="Oval 56"/>
          <p:cNvSpPr/>
          <p:nvPr/>
        </p:nvSpPr>
        <p:spPr>
          <a:xfrm>
            <a:off x="8142422" y="4007223"/>
            <a:ext cx="1188720" cy="118872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শু</a:t>
            </a:r>
            <a:endParaRPr lang="en-US" dirty="0"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60" name="Oval 59"/>
          <p:cNvSpPr/>
          <p:nvPr/>
        </p:nvSpPr>
        <p:spPr>
          <a:xfrm>
            <a:off x="9435950" y="4007223"/>
            <a:ext cx="1188720" cy="118872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ভে</a:t>
            </a:r>
            <a:endParaRPr lang="en-US" dirty="0"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61" name="Oval 60"/>
          <p:cNvSpPr/>
          <p:nvPr/>
        </p:nvSpPr>
        <p:spPr>
          <a:xfrm>
            <a:off x="10729478" y="4007223"/>
            <a:ext cx="1188720" cy="118872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চ্ছা</a:t>
            </a:r>
            <a:endParaRPr lang="en-US" dirty="0"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2" name="Rounded Rectangle 1"/>
          <p:cNvSpPr/>
          <p:nvPr/>
        </p:nvSpPr>
        <p:spPr>
          <a:xfrm>
            <a:off x="8351073" y="2345166"/>
            <a:ext cx="3485478" cy="344244"/>
          </a:xfrm>
          <a:prstGeom prst="roundRect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সবাইকে</a:t>
            </a:r>
            <a:endParaRPr lang="en-US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2799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451792"/>
            <a:ext cx="10515600" cy="1325563"/>
          </a:xfrm>
        </p:spPr>
        <p:txBody>
          <a:bodyPr>
            <a:noAutofit/>
          </a:bodyPr>
          <a:lstStyle/>
          <a:p>
            <a:pPr algn="ctr"/>
            <a:r>
              <a:rPr lang="en-US" sz="4800" b="1" dirty="0" err="1" smtClean="0">
                <a:solidFill>
                  <a:schemeClr val="accent6">
                    <a:lumMod val="50000"/>
                  </a:schemeClr>
                </a:solidFill>
                <a:latin typeface="NikoshBAN" panose="02000000000000000000" pitchFamily="2" charset="0"/>
                <a:cs typeface="NikoshBAN" panose="02000000000000000000" pitchFamily="2" charset="0"/>
              </a:rPr>
              <a:t>মূল্যায়ন</a:t>
            </a:r>
            <a:endParaRPr lang="en-US" sz="4800" dirty="0">
              <a:solidFill>
                <a:schemeClr val="accent6">
                  <a:lumMod val="50000"/>
                </a:schemeClr>
              </a:solidFill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24843" y="1834444"/>
            <a:ext cx="6542314" cy="243727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as-IN" sz="3200" b="1" dirty="0">
                <a:latin typeface="NikoshBAN" panose="02000000000000000000" pitchFamily="2" charset="0"/>
                <a:cs typeface="NikoshBAN" panose="02000000000000000000" pitchFamily="2" charset="0"/>
              </a:rPr>
              <a:t>রাষ্ট্রীয় ব্যবসায় গঠিত হয়—</a:t>
            </a:r>
            <a:br>
              <a:rPr lang="as-IN" sz="3200" b="1" dirty="0">
                <a:latin typeface="NikoshBAN" panose="02000000000000000000" pitchFamily="2" charset="0"/>
                <a:cs typeface="NikoshBAN" panose="02000000000000000000" pitchFamily="2" charset="0"/>
              </a:rPr>
            </a:br>
            <a:r>
              <a:rPr lang="en-US" sz="3200" dirty="0" smtClean="0">
                <a:latin typeface="NikoshBAN" panose="02000000000000000000" pitchFamily="2" charset="0"/>
                <a:cs typeface="NikoshBAN" panose="02000000000000000000" pitchFamily="2" charset="0"/>
              </a:rPr>
              <a:t>	</a:t>
            </a:r>
            <a:r>
              <a:rPr lang="en-US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i</a:t>
            </a:r>
            <a:r>
              <a:rPr lang="en-US" dirty="0">
                <a:latin typeface="NikoshBAN" panose="02000000000000000000" pitchFamily="2" charset="0"/>
                <a:cs typeface="NikoshBAN" panose="02000000000000000000" pitchFamily="2" charset="0"/>
              </a:rPr>
              <a:t>. </a:t>
            </a:r>
            <a:r>
              <a:rPr lang="as-IN" sz="3200" dirty="0">
                <a:latin typeface="NikoshBAN" panose="02000000000000000000" pitchFamily="2" charset="0"/>
                <a:cs typeface="NikoshBAN" panose="02000000000000000000" pitchFamily="2" charset="0"/>
              </a:rPr>
              <a:t>রাষ্ট্রপতির বিশেষ আদেশে</a:t>
            </a:r>
            <a:br>
              <a:rPr lang="as-IN" sz="3200" dirty="0">
                <a:latin typeface="NikoshBAN" panose="02000000000000000000" pitchFamily="2" charset="0"/>
                <a:cs typeface="NikoshBAN" panose="02000000000000000000" pitchFamily="2" charset="0"/>
              </a:rPr>
            </a:br>
            <a:r>
              <a:rPr lang="en-US" sz="3200" dirty="0">
                <a:latin typeface="NikoshBAN" panose="02000000000000000000" pitchFamily="2" charset="0"/>
                <a:cs typeface="NikoshBAN" panose="02000000000000000000" pitchFamily="2" charset="0"/>
              </a:rPr>
              <a:t>	</a:t>
            </a:r>
            <a:r>
              <a:rPr lang="en-US" dirty="0" smtClean="0">
                <a:latin typeface="NikoshBAN" panose="02000000000000000000" pitchFamily="2" charset="0"/>
                <a:cs typeface="NikoshBAN" panose="02000000000000000000" pitchFamily="2" charset="0"/>
              </a:rPr>
              <a:t>ii</a:t>
            </a:r>
            <a:r>
              <a:rPr lang="en-US" dirty="0">
                <a:latin typeface="NikoshBAN" panose="02000000000000000000" pitchFamily="2" charset="0"/>
                <a:cs typeface="NikoshBAN" panose="02000000000000000000" pitchFamily="2" charset="0"/>
              </a:rPr>
              <a:t>. </a:t>
            </a:r>
            <a:r>
              <a:rPr lang="as-IN" sz="3200" dirty="0">
                <a:latin typeface="NikoshBAN" panose="02000000000000000000" pitchFamily="2" charset="0"/>
                <a:cs typeface="NikoshBAN" panose="02000000000000000000" pitchFamily="2" charset="0"/>
              </a:rPr>
              <a:t>দেশের আইনসভার বিশেষ আইন </a:t>
            </a:r>
            <a:r>
              <a:rPr lang="as-IN" sz="3200" dirty="0" smtClean="0">
                <a:latin typeface="NikoshBAN" panose="02000000000000000000" pitchFamily="2" charset="0"/>
                <a:cs typeface="NikoshBAN" panose="02000000000000000000" pitchFamily="2" charset="0"/>
              </a:rPr>
              <a:t>বলে</a:t>
            </a:r>
            <a:endParaRPr lang="en-US" sz="3200" dirty="0" smtClean="0">
              <a:latin typeface="NikoshBAN" panose="02000000000000000000" pitchFamily="2" charset="0"/>
              <a:cs typeface="NikoshBAN" panose="02000000000000000000" pitchFamily="2" charset="0"/>
            </a:endParaRPr>
          </a:p>
          <a:p>
            <a:pPr marL="0" indent="0">
              <a:buNone/>
            </a:pPr>
            <a:r>
              <a:rPr lang="en-US" sz="3200" dirty="0">
                <a:latin typeface="NikoshBAN" panose="02000000000000000000" pitchFamily="2" charset="0"/>
                <a:cs typeface="NikoshBAN" panose="02000000000000000000" pitchFamily="2" charset="0"/>
              </a:rPr>
              <a:t>	</a:t>
            </a:r>
            <a:r>
              <a:rPr lang="en-US" dirty="0" smtClean="0">
                <a:latin typeface="NikoshBAN" panose="02000000000000000000" pitchFamily="2" charset="0"/>
                <a:cs typeface="NikoshBAN" panose="02000000000000000000" pitchFamily="2" charset="0"/>
              </a:rPr>
              <a:t>iii</a:t>
            </a:r>
            <a:r>
              <a:rPr lang="en-US" dirty="0">
                <a:latin typeface="NikoshBAN" panose="02000000000000000000" pitchFamily="2" charset="0"/>
                <a:cs typeface="NikoshBAN" panose="02000000000000000000" pitchFamily="2" charset="0"/>
              </a:rPr>
              <a:t>. </a:t>
            </a:r>
            <a:r>
              <a:rPr lang="as-IN" sz="3200" dirty="0">
                <a:latin typeface="NikoshBAN" panose="02000000000000000000" pitchFamily="2" charset="0"/>
                <a:cs typeface="NikoshBAN" panose="02000000000000000000" pitchFamily="2" charset="0"/>
              </a:rPr>
              <a:t>কতিপয় ব্যক্তির উদ্যোগে</a:t>
            </a:r>
            <a:br>
              <a:rPr lang="as-IN" sz="3200" dirty="0">
                <a:latin typeface="NikoshBAN" panose="02000000000000000000" pitchFamily="2" charset="0"/>
                <a:cs typeface="NikoshBAN" panose="02000000000000000000" pitchFamily="2" charset="0"/>
              </a:rPr>
            </a:br>
            <a:r>
              <a:rPr lang="as-IN" sz="3200" dirty="0">
                <a:latin typeface="NikoshBAN" panose="02000000000000000000" pitchFamily="2" charset="0"/>
                <a:cs typeface="NikoshBAN" panose="02000000000000000000" pitchFamily="2" charset="0"/>
              </a:rPr>
              <a:t>নিচের কোনটি </a:t>
            </a:r>
            <a:r>
              <a:rPr lang="as-IN" sz="3200" dirty="0" smtClean="0">
                <a:latin typeface="NikoshBAN" panose="02000000000000000000" pitchFamily="2" charset="0"/>
                <a:cs typeface="NikoshBAN" panose="02000000000000000000" pitchFamily="2" charset="0"/>
              </a:rPr>
              <a:t>সঠিক?</a:t>
            </a:r>
            <a:r>
              <a:rPr lang="en-US" sz="3200" dirty="0" smtClean="0">
                <a:latin typeface="NikoshBAN" panose="02000000000000000000" pitchFamily="2" charset="0"/>
                <a:cs typeface="NikoshBAN" panose="02000000000000000000" pitchFamily="2" charset="0"/>
              </a:rPr>
              <a:t>		</a:t>
            </a:r>
          </a:p>
        </p:txBody>
      </p:sp>
      <p:sp>
        <p:nvSpPr>
          <p:cNvPr id="4" name="Donut 3"/>
          <p:cNvSpPr/>
          <p:nvPr/>
        </p:nvSpPr>
        <p:spPr>
          <a:xfrm>
            <a:off x="6108482" y="4758515"/>
            <a:ext cx="593261" cy="588181"/>
          </a:xfrm>
          <a:prstGeom prst="donut">
            <a:avLst>
              <a:gd name="adj" fmla="val 10614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824843" y="4271723"/>
            <a:ext cx="21297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NikoshBAN" panose="02000000000000000000" pitchFamily="2" charset="0"/>
                <a:cs typeface="NikoshBAN" panose="02000000000000000000" pitchFamily="2" charset="0"/>
              </a:rPr>
              <a:t>ক) </a:t>
            </a:r>
            <a:r>
              <a:rPr lang="en-US" sz="2800" dirty="0" err="1">
                <a:latin typeface="NikoshBAN" panose="02000000000000000000" pitchFamily="2" charset="0"/>
                <a:cs typeface="NikoshBAN" panose="02000000000000000000" pitchFamily="2" charset="0"/>
              </a:rPr>
              <a:t>i</a:t>
            </a:r>
            <a:r>
              <a:rPr lang="en-US" sz="2800" dirty="0">
                <a:latin typeface="NikoshBAN" panose="02000000000000000000" pitchFamily="2" charset="0"/>
                <a:cs typeface="NikoshBAN" panose="02000000000000000000" pitchFamily="2" charset="0"/>
              </a:rPr>
              <a:t> ও ii</a:t>
            </a:r>
            <a:endParaRPr lang="en-US" sz="2800" dirty="0"/>
          </a:p>
        </p:txBody>
      </p:sp>
      <p:sp>
        <p:nvSpPr>
          <p:cNvPr id="6" name="TextBox 5"/>
          <p:cNvSpPr txBox="1"/>
          <p:nvPr/>
        </p:nvSpPr>
        <p:spPr>
          <a:xfrm>
            <a:off x="6231992" y="4271723"/>
            <a:ext cx="21297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NikoshBAN" panose="02000000000000000000" pitchFamily="2" charset="0"/>
                <a:cs typeface="NikoshBAN" panose="02000000000000000000" pitchFamily="2" charset="0"/>
              </a:rPr>
              <a:t>খ) </a:t>
            </a:r>
            <a:r>
              <a:rPr lang="en-US" sz="2800" dirty="0" err="1">
                <a:latin typeface="NikoshBAN" panose="02000000000000000000" pitchFamily="2" charset="0"/>
                <a:cs typeface="NikoshBAN" panose="02000000000000000000" pitchFamily="2" charset="0"/>
              </a:rPr>
              <a:t>i</a:t>
            </a:r>
            <a:r>
              <a:rPr lang="en-US" sz="2800" dirty="0">
                <a:latin typeface="NikoshBAN" panose="02000000000000000000" pitchFamily="2" charset="0"/>
                <a:cs typeface="NikoshBAN" panose="02000000000000000000" pitchFamily="2" charset="0"/>
              </a:rPr>
              <a:t> ও ii</a:t>
            </a:r>
            <a:endParaRPr lang="en-US" sz="2800" dirty="0"/>
          </a:p>
        </p:txBody>
      </p:sp>
      <p:sp>
        <p:nvSpPr>
          <p:cNvPr id="7" name="TextBox 6"/>
          <p:cNvSpPr txBox="1"/>
          <p:nvPr/>
        </p:nvSpPr>
        <p:spPr>
          <a:xfrm>
            <a:off x="2824843" y="4794943"/>
            <a:ext cx="21297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NikoshBAN" panose="02000000000000000000" pitchFamily="2" charset="0"/>
                <a:cs typeface="NikoshBAN" panose="02000000000000000000" pitchFamily="2" charset="0"/>
              </a:rPr>
              <a:t>গ) ii ও ii</a:t>
            </a:r>
            <a:endParaRPr lang="en-US" sz="2800" dirty="0"/>
          </a:p>
        </p:txBody>
      </p:sp>
      <p:sp>
        <p:nvSpPr>
          <p:cNvPr id="8" name="TextBox 7"/>
          <p:cNvSpPr txBox="1"/>
          <p:nvPr/>
        </p:nvSpPr>
        <p:spPr>
          <a:xfrm>
            <a:off x="6231992" y="4794943"/>
            <a:ext cx="21297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NikoshBAN" panose="02000000000000000000" pitchFamily="2" charset="0"/>
                <a:cs typeface="NikoshBAN" panose="02000000000000000000" pitchFamily="2" charset="0"/>
              </a:rPr>
              <a:t>ঘ) </a:t>
            </a:r>
            <a:r>
              <a:rPr lang="en-US" sz="2800" dirty="0" err="1">
                <a:latin typeface="NikoshBAN" panose="02000000000000000000" pitchFamily="2" charset="0"/>
                <a:cs typeface="NikoshBAN" panose="02000000000000000000" pitchFamily="2" charset="0"/>
              </a:rPr>
              <a:t>i</a:t>
            </a:r>
            <a:r>
              <a:rPr lang="en-US" sz="2800" dirty="0">
                <a:latin typeface="NikoshBAN" panose="02000000000000000000" pitchFamily="2" charset="0"/>
                <a:cs typeface="NikoshBAN" panose="02000000000000000000" pitchFamily="2" charset="0"/>
              </a:rPr>
              <a:t>, ii ও iii</a:t>
            </a:r>
          </a:p>
        </p:txBody>
      </p:sp>
    </p:spTree>
    <p:extLst>
      <p:ext uri="{BB962C8B-B14F-4D97-AF65-F5344CB8AC3E}">
        <p14:creationId xmlns:p14="http://schemas.microsoft.com/office/powerpoint/2010/main" val="37290241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9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9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0C0"/>
                                      </p:to>
                                    </p:animClr>
                                    <p:animClr clrSpc="rgb" dir="cw">
                                      <p:cBhvr>
                                        <p:cTn id="10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0C0"/>
                                      </p:to>
                                    </p:animClr>
                                    <p:set>
                                      <p:cBhvr>
                                        <p:cTn id="11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2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451792"/>
            <a:ext cx="10515600" cy="1325563"/>
          </a:xfrm>
        </p:spPr>
        <p:txBody>
          <a:bodyPr>
            <a:noAutofit/>
          </a:bodyPr>
          <a:lstStyle/>
          <a:p>
            <a:pPr algn="ctr"/>
            <a:r>
              <a:rPr lang="en-US" sz="4800" b="1" dirty="0" err="1" smtClean="0">
                <a:solidFill>
                  <a:schemeClr val="accent6">
                    <a:lumMod val="50000"/>
                  </a:schemeClr>
                </a:solidFill>
                <a:latin typeface="NikoshBAN" panose="02000000000000000000" pitchFamily="2" charset="0"/>
                <a:cs typeface="NikoshBAN" panose="02000000000000000000" pitchFamily="2" charset="0"/>
              </a:rPr>
              <a:t>মূল্যায়ন</a:t>
            </a:r>
            <a:endParaRPr lang="en-US" sz="4800" dirty="0">
              <a:solidFill>
                <a:schemeClr val="accent6">
                  <a:lumMod val="50000"/>
                </a:schemeClr>
              </a:solidFill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24843" y="1834444"/>
            <a:ext cx="6542314" cy="2437279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3200" b="1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বর্তমানে</a:t>
            </a:r>
            <a:r>
              <a:rPr lang="en-US" sz="3200" b="1" dirty="0" smtClean="0"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3200" b="1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রেলের</a:t>
            </a:r>
            <a:r>
              <a:rPr lang="en-US" sz="3200" b="1" dirty="0" smtClean="0"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3200" b="1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টিকিট</a:t>
            </a:r>
            <a:r>
              <a:rPr lang="en-US" sz="3200" b="1" dirty="0" smtClean="0"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3200" b="1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কাটা</a:t>
            </a:r>
            <a:r>
              <a:rPr lang="en-US" sz="3200" b="1" dirty="0" smtClean="0"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3200" b="1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যায়</a:t>
            </a:r>
            <a:r>
              <a:rPr lang="as-IN" sz="3200" b="1" dirty="0" smtClean="0">
                <a:latin typeface="NikoshBAN" panose="02000000000000000000" pitchFamily="2" charset="0"/>
                <a:cs typeface="NikoshBAN" panose="02000000000000000000" pitchFamily="2" charset="0"/>
              </a:rPr>
              <a:t>—</a:t>
            </a:r>
            <a:r>
              <a:rPr lang="as-IN" sz="3200" b="1" dirty="0">
                <a:latin typeface="NikoshBAN" panose="02000000000000000000" pitchFamily="2" charset="0"/>
                <a:cs typeface="NikoshBAN" panose="02000000000000000000" pitchFamily="2" charset="0"/>
              </a:rPr>
              <a:t/>
            </a:r>
            <a:br>
              <a:rPr lang="as-IN" sz="3200" b="1" dirty="0">
                <a:latin typeface="NikoshBAN" panose="02000000000000000000" pitchFamily="2" charset="0"/>
                <a:cs typeface="NikoshBAN" panose="02000000000000000000" pitchFamily="2" charset="0"/>
              </a:rPr>
            </a:br>
            <a:r>
              <a:rPr lang="en-US" sz="3200" dirty="0" smtClean="0">
                <a:latin typeface="NikoshBAN" panose="02000000000000000000" pitchFamily="2" charset="0"/>
                <a:cs typeface="NikoshBAN" panose="02000000000000000000" pitchFamily="2" charset="0"/>
              </a:rPr>
              <a:t>	</a:t>
            </a:r>
            <a:r>
              <a:rPr lang="en-US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i</a:t>
            </a:r>
            <a:r>
              <a:rPr lang="en-US" dirty="0">
                <a:latin typeface="NikoshBAN" panose="02000000000000000000" pitchFamily="2" charset="0"/>
                <a:cs typeface="NikoshBAN" panose="02000000000000000000" pitchFamily="2" charset="0"/>
              </a:rPr>
              <a:t>. </a:t>
            </a:r>
            <a:r>
              <a:rPr lang="en-US" sz="32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মোবাইল</a:t>
            </a:r>
            <a:r>
              <a:rPr lang="en-US" sz="3200" dirty="0" smtClean="0"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32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ফোনের</a:t>
            </a:r>
            <a:r>
              <a:rPr lang="en-US" sz="3200" dirty="0" smtClean="0"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32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মাধ্যমে</a:t>
            </a:r>
            <a:endParaRPr lang="en-US" sz="3200" dirty="0" smtClean="0">
              <a:latin typeface="NikoshBAN" panose="02000000000000000000" pitchFamily="2" charset="0"/>
              <a:cs typeface="NikoshBAN" panose="02000000000000000000" pitchFamily="2" charset="0"/>
            </a:endParaRPr>
          </a:p>
          <a:p>
            <a:pPr marL="0" indent="0">
              <a:buNone/>
            </a:pPr>
            <a:r>
              <a:rPr lang="en-US" sz="3200" dirty="0">
                <a:latin typeface="NikoshBAN" panose="02000000000000000000" pitchFamily="2" charset="0"/>
                <a:cs typeface="NikoshBAN" panose="02000000000000000000" pitchFamily="2" charset="0"/>
              </a:rPr>
              <a:t>	</a:t>
            </a:r>
            <a:r>
              <a:rPr lang="en-US" dirty="0" smtClean="0">
                <a:latin typeface="NikoshBAN" panose="02000000000000000000" pitchFamily="2" charset="0"/>
                <a:cs typeface="NikoshBAN" panose="02000000000000000000" pitchFamily="2" charset="0"/>
              </a:rPr>
              <a:t>ii. </a:t>
            </a:r>
            <a:r>
              <a:rPr lang="as-IN" sz="3200" dirty="0" smtClean="0">
                <a:latin typeface="NikoshBAN" panose="02000000000000000000" pitchFamily="2" charset="0"/>
                <a:cs typeface="NikoshBAN" panose="02000000000000000000" pitchFamily="2" charset="0"/>
              </a:rPr>
              <a:t>ইন</a:t>
            </a:r>
            <a:r>
              <a:rPr lang="en-US" sz="32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্টারনেটের</a:t>
            </a:r>
            <a:r>
              <a:rPr lang="en-US" sz="3200" dirty="0" smtClean="0"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32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মাধ্যমে</a:t>
            </a:r>
            <a:endParaRPr lang="en-US" sz="3200" dirty="0" smtClean="0">
              <a:latin typeface="NikoshBAN" panose="02000000000000000000" pitchFamily="2" charset="0"/>
              <a:cs typeface="NikoshBAN" panose="02000000000000000000" pitchFamily="2" charset="0"/>
            </a:endParaRPr>
          </a:p>
          <a:p>
            <a:pPr marL="0" indent="0">
              <a:buNone/>
            </a:pPr>
            <a:r>
              <a:rPr lang="en-US" sz="3200" dirty="0" smtClean="0">
                <a:latin typeface="NikoshBAN" panose="02000000000000000000" pitchFamily="2" charset="0"/>
                <a:cs typeface="NikoshBAN" panose="02000000000000000000" pitchFamily="2" charset="0"/>
              </a:rPr>
              <a:t>	</a:t>
            </a:r>
            <a:r>
              <a:rPr lang="en-US" dirty="0" smtClean="0">
                <a:latin typeface="NikoshBAN" panose="02000000000000000000" pitchFamily="2" charset="0"/>
                <a:cs typeface="NikoshBAN" panose="02000000000000000000" pitchFamily="2" charset="0"/>
              </a:rPr>
              <a:t>iii. </a:t>
            </a:r>
            <a:r>
              <a:rPr lang="en-US" sz="32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ফেসবুকের</a:t>
            </a:r>
            <a:r>
              <a:rPr lang="en-US" sz="3200" dirty="0" smtClean="0"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32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মাধ্যমে</a:t>
            </a:r>
            <a:r>
              <a:rPr lang="as-IN" sz="3200" dirty="0" smtClean="0">
                <a:latin typeface="NikoshBAN" panose="02000000000000000000" pitchFamily="2" charset="0"/>
                <a:cs typeface="NikoshBAN" panose="02000000000000000000" pitchFamily="2" charset="0"/>
              </a:rPr>
              <a:t/>
            </a:r>
            <a:br>
              <a:rPr lang="as-IN" sz="3200" dirty="0" smtClean="0">
                <a:latin typeface="NikoshBAN" panose="02000000000000000000" pitchFamily="2" charset="0"/>
                <a:cs typeface="NikoshBAN" panose="02000000000000000000" pitchFamily="2" charset="0"/>
              </a:rPr>
            </a:br>
            <a:r>
              <a:rPr lang="as-IN" sz="3200" dirty="0" smtClean="0">
                <a:latin typeface="NikoshBAN" panose="02000000000000000000" pitchFamily="2" charset="0"/>
                <a:cs typeface="NikoshBAN" panose="02000000000000000000" pitchFamily="2" charset="0"/>
              </a:rPr>
              <a:t>নিচের কোনটি সঠিক?</a:t>
            </a:r>
            <a:r>
              <a:rPr lang="en-US" sz="3200" dirty="0" smtClean="0">
                <a:latin typeface="NikoshBAN" panose="02000000000000000000" pitchFamily="2" charset="0"/>
                <a:cs typeface="NikoshBAN" panose="02000000000000000000" pitchFamily="2" charset="0"/>
              </a:rPr>
              <a:t>		</a:t>
            </a:r>
          </a:p>
        </p:txBody>
      </p:sp>
      <p:sp>
        <p:nvSpPr>
          <p:cNvPr id="4" name="Donut 3"/>
          <p:cNvSpPr/>
          <p:nvPr/>
        </p:nvSpPr>
        <p:spPr>
          <a:xfrm>
            <a:off x="2737759" y="4228533"/>
            <a:ext cx="593261" cy="588181"/>
          </a:xfrm>
          <a:prstGeom prst="donut">
            <a:avLst>
              <a:gd name="adj" fmla="val 10614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231992" y="4271723"/>
            <a:ext cx="21297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NikoshBAN" panose="02000000000000000000" pitchFamily="2" charset="0"/>
                <a:cs typeface="NikoshBAN" panose="02000000000000000000" pitchFamily="2" charset="0"/>
              </a:rPr>
              <a:t>খ) </a:t>
            </a:r>
            <a:r>
              <a:rPr lang="en-US" sz="2800" dirty="0" err="1">
                <a:latin typeface="NikoshBAN" panose="02000000000000000000" pitchFamily="2" charset="0"/>
                <a:cs typeface="NikoshBAN" panose="02000000000000000000" pitchFamily="2" charset="0"/>
              </a:rPr>
              <a:t>i</a:t>
            </a:r>
            <a:r>
              <a:rPr lang="en-US" sz="2800" dirty="0">
                <a:latin typeface="NikoshBAN" panose="02000000000000000000" pitchFamily="2" charset="0"/>
                <a:cs typeface="NikoshBAN" panose="02000000000000000000" pitchFamily="2" charset="0"/>
              </a:rPr>
              <a:t> ও ii</a:t>
            </a:r>
            <a:endParaRPr lang="en-US" sz="2800" dirty="0"/>
          </a:p>
        </p:txBody>
      </p:sp>
      <p:sp>
        <p:nvSpPr>
          <p:cNvPr id="7" name="TextBox 6"/>
          <p:cNvSpPr txBox="1"/>
          <p:nvPr/>
        </p:nvSpPr>
        <p:spPr>
          <a:xfrm>
            <a:off x="2824843" y="4794943"/>
            <a:ext cx="21297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NikoshBAN" panose="02000000000000000000" pitchFamily="2" charset="0"/>
                <a:cs typeface="NikoshBAN" panose="02000000000000000000" pitchFamily="2" charset="0"/>
              </a:rPr>
              <a:t>গ) ii ও ii</a:t>
            </a:r>
            <a:endParaRPr lang="en-US" sz="2800" dirty="0"/>
          </a:p>
        </p:txBody>
      </p:sp>
      <p:sp>
        <p:nvSpPr>
          <p:cNvPr id="8" name="TextBox 7"/>
          <p:cNvSpPr txBox="1"/>
          <p:nvPr/>
        </p:nvSpPr>
        <p:spPr>
          <a:xfrm>
            <a:off x="6231992" y="4794943"/>
            <a:ext cx="21297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NikoshBAN" panose="02000000000000000000" pitchFamily="2" charset="0"/>
                <a:cs typeface="NikoshBAN" panose="02000000000000000000" pitchFamily="2" charset="0"/>
              </a:rPr>
              <a:t>ঘ) </a:t>
            </a:r>
            <a:r>
              <a:rPr lang="en-US" sz="2800" dirty="0" err="1">
                <a:latin typeface="NikoshBAN" panose="02000000000000000000" pitchFamily="2" charset="0"/>
                <a:cs typeface="NikoshBAN" panose="02000000000000000000" pitchFamily="2" charset="0"/>
              </a:rPr>
              <a:t>i</a:t>
            </a:r>
            <a:r>
              <a:rPr lang="en-US" sz="2800" dirty="0">
                <a:latin typeface="NikoshBAN" panose="02000000000000000000" pitchFamily="2" charset="0"/>
                <a:cs typeface="NikoshBAN" panose="02000000000000000000" pitchFamily="2" charset="0"/>
              </a:rPr>
              <a:t>, ii ও iii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231992" y="5383124"/>
            <a:ext cx="21297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800" dirty="0"/>
          </a:p>
        </p:txBody>
      </p:sp>
      <p:sp>
        <p:nvSpPr>
          <p:cNvPr id="10" name="TextBox 9"/>
          <p:cNvSpPr txBox="1"/>
          <p:nvPr/>
        </p:nvSpPr>
        <p:spPr>
          <a:xfrm>
            <a:off x="2824843" y="4271723"/>
            <a:ext cx="21297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>
                <a:latin typeface="NikoshBAN" panose="02000000000000000000" pitchFamily="2" charset="0"/>
                <a:cs typeface="NikoshBAN" panose="02000000000000000000" pitchFamily="2" charset="0"/>
              </a:rPr>
              <a:t>ক) </a:t>
            </a:r>
            <a:r>
              <a:rPr lang="en-US" sz="28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i</a:t>
            </a:r>
            <a:r>
              <a:rPr lang="en-US" sz="2800" dirty="0" smtClean="0"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>
                <a:latin typeface="NikoshBAN" panose="02000000000000000000" pitchFamily="2" charset="0"/>
                <a:cs typeface="NikoshBAN" panose="02000000000000000000" pitchFamily="2" charset="0"/>
              </a:rPr>
              <a:t>ও </a:t>
            </a:r>
            <a:r>
              <a:rPr lang="en-US" sz="2800" dirty="0" smtClean="0">
                <a:latin typeface="NikoshBAN" panose="02000000000000000000" pitchFamily="2" charset="0"/>
                <a:cs typeface="NikoshBAN" panose="02000000000000000000" pitchFamily="2" charset="0"/>
              </a:rPr>
              <a:t>ii</a:t>
            </a:r>
            <a:endParaRPr lang="en-US" sz="2800" dirty="0"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27053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9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9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0C0"/>
                                      </p:to>
                                    </p:animClr>
                                    <p:animClr clrSpc="rgb" dir="cw">
                                      <p:cBhvr>
                                        <p:cTn id="10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0C0"/>
                                      </p:to>
                                    </p:animClr>
                                    <p:set>
                                      <p:cBhvr>
                                        <p:cTn id="11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2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808797"/>
            <a:ext cx="2634112" cy="263411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201732" y="2833465"/>
            <a:ext cx="90149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বাংলাদেশের</a:t>
            </a:r>
            <a:r>
              <a:rPr lang="en-US" sz="3200" dirty="0" smtClean="0"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32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অর্থনৈতিক</a:t>
            </a:r>
            <a:r>
              <a:rPr lang="en-US" sz="3200" dirty="0" smtClean="0"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32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উন্নয়নে</a:t>
            </a:r>
            <a:r>
              <a:rPr lang="en-US" sz="3200" dirty="0" smtClean="0"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32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রাষ্ট্রীয়</a:t>
            </a:r>
            <a:r>
              <a:rPr lang="en-US" sz="3200" dirty="0" smtClean="0"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32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ব্যবসায়ের</a:t>
            </a:r>
            <a:r>
              <a:rPr lang="en-US" sz="3200" dirty="0" smtClean="0"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32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গুরুত্ব</a:t>
            </a:r>
            <a:r>
              <a:rPr lang="en-US" sz="3200" dirty="0" smtClean="0"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32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ব্যাখ্যা</a:t>
            </a:r>
            <a:r>
              <a:rPr lang="en-US" sz="3200" dirty="0" smtClean="0"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32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কর</a:t>
            </a:r>
            <a:r>
              <a:rPr lang="en-US" sz="3200" dirty="0" smtClean="0">
                <a:latin typeface="NikoshBAN" panose="02000000000000000000" pitchFamily="2" charset="0"/>
                <a:cs typeface="NikoshBAN" panose="02000000000000000000" pitchFamily="2" charset="0"/>
              </a:rPr>
              <a:t>। </a:t>
            </a:r>
            <a:endParaRPr lang="en-US" sz="3200" dirty="0"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56733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5000" b="-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398059" y="1543869"/>
            <a:ext cx="7395882" cy="3770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3900" b="1" dirty="0" err="1" smtClean="0">
                <a:blipFill>
                  <a:blip r:embed="rId3"/>
                  <a:stretch>
                    <a:fillRect/>
                  </a:stretch>
                </a:blip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ধন্যবাদ</a:t>
            </a:r>
            <a:endParaRPr lang="en-US" sz="23900" b="1" dirty="0">
              <a:blipFill>
                <a:blip r:embed="rId3"/>
                <a:stretch>
                  <a:fillRect/>
                </a:stretch>
              </a:blip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703740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/>
        </p:nvGrpSpPr>
        <p:grpSpPr>
          <a:xfrm>
            <a:off x="2438400" y="3829725"/>
            <a:ext cx="7315200" cy="2286000"/>
            <a:chOff x="2438400" y="4297680"/>
            <a:chExt cx="7315200" cy="2560320"/>
          </a:xfrm>
        </p:grpSpPr>
        <p:sp>
          <p:nvSpPr>
            <p:cNvPr id="7" name="Freeform 6"/>
            <p:cNvSpPr/>
            <p:nvPr/>
          </p:nvSpPr>
          <p:spPr>
            <a:xfrm>
              <a:off x="2438400" y="4297680"/>
              <a:ext cx="7315200" cy="2560320"/>
            </a:xfrm>
            <a:custGeom>
              <a:avLst/>
              <a:gdLst>
                <a:gd name="connsiteX0" fmla="*/ 1088602 w 6766560"/>
                <a:gd name="connsiteY0" fmla="*/ 0 h 1120140"/>
                <a:gd name="connsiteX1" fmla="*/ 5677959 w 6766560"/>
                <a:gd name="connsiteY1" fmla="*/ 0 h 1120140"/>
                <a:gd name="connsiteX2" fmla="*/ 6766560 w 6766560"/>
                <a:gd name="connsiteY2" fmla="*/ 1097280 h 1120140"/>
                <a:gd name="connsiteX3" fmla="*/ 6764274 w 6766560"/>
                <a:gd name="connsiteY3" fmla="*/ 1120140 h 1120140"/>
                <a:gd name="connsiteX4" fmla="*/ 2287 w 6766560"/>
                <a:gd name="connsiteY4" fmla="*/ 1120140 h 1120140"/>
                <a:gd name="connsiteX5" fmla="*/ 0 w 6766560"/>
                <a:gd name="connsiteY5" fmla="*/ 1097280 h 1120140"/>
                <a:gd name="connsiteX6" fmla="*/ 1088602 w 6766560"/>
                <a:gd name="connsiteY6" fmla="*/ 0 h 1120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766560" h="1120140">
                  <a:moveTo>
                    <a:pt x="1088602" y="0"/>
                  </a:moveTo>
                  <a:lnTo>
                    <a:pt x="5677959" y="0"/>
                  </a:lnTo>
                  <a:cubicBezTo>
                    <a:pt x="6279117" y="0"/>
                    <a:pt x="6766560" y="491236"/>
                    <a:pt x="6766560" y="1097280"/>
                  </a:cubicBezTo>
                  <a:lnTo>
                    <a:pt x="6764274" y="1120140"/>
                  </a:lnTo>
                  <a:lnTo>
                    <a:pt x="2287" y="1120140"/>
                  </a:lnTo>
                  <a:lnTo>
                    <a:pt x="0" y="1097280"/>
                  </a:lnTo>
                  <a:cubicBezTo>
                    <a:pt x="0" y="491236"/>
                    <a:pt x="487443" y="0"/>
                    <a:pt x="1088602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C00000">
                    <a:shade val="30000"/>
                    <a:satMod val="115000"/>
                    <a:alpha val="97000"/>
                    <a:lumMod val="66000"/>
                    <a:lumOff val="34000"/>
                  </a:srgbClr>
                </a:gs>
                <a:gs pos="50000">
                  <a:srgbClr val="C00000">
                    <a:shade val="67500"/>
                    <a:satMod val="115000"/>
                    <a:alpha val="97000"/>
                    <a:lumMod val="66000"/>
                    <a:lumOff val="34000"/>
                  </a:srgbClr>
                </a:gs>
                <a:gs pos="100000">
                  <a:srgbClr val="C00000">
                    <a:shade val="100000"/>
                    <a:satMod val="115000"/>
                    <a:alpha val="97000"/>
                    <a:lumMod val="66000"/>
                    <a:lumOff val="34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105835" y="4320993"/>
              <a:ext cx="398033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600" b="1" dirty="0" err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গাজী</a:t>
              </a:r>
              <a:r>
                <a:rPr lang="en-US" sz="36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 </a:t>
              </a:r>
              <a:r>
                <a:rPr lang="en-US" sz="3600" b="1" dirty="0" err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শাহ্</a:t>
              </a:r>
              <a:r>
                <a:rPr lang="en-US" sz="36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 </a:t>
              </a:r>
              <a:r>
                <a:rPr lang="en-US" sz="3600" b="1" dirty="0" err="1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আল-হেলালী</a:t>
              </a:r>
              <a:endPara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2621280" y="4469805"/>
            <a:ext cx="6949440" cy="1645920"/>
            <a:chOff x="2621280" y="4927051"/>
            <a:chExt cx="6949440" cy="1930949"/>
          </a:xfrm>
        </p:grpSpPr>
        <p:sp>
          <p:nvSpPr>
            <p:cNvPr id="9" name="Freeform 8"/>
            <p:cNvSpPr/>
            <p:nvPr/>
          </p:nvSpPr>
          <p:spPr>
            <a:xfrm>
              <a:off x="2621280" y="4937760"/>
              <a:ext cx="6949440" cy="1920240"/>
            </a:xfrm>
            <a:custGeom>
              <a:avLst/>
              <a:gdLst>
                <a:gd name="connsiteX0" fmla="*/ 1029758 w 6400800"/>
                <a:gd name="connsiteY0" fmla="*/ 0 h 845820"/>
                <a:gd name="connsiteX1" fmla="*/ 5371042 w 6400800"/>
                <a:gd name="connsiteY1" fmla="*/ 0 h 845820"/>
                <a:gd name="connsiteX2" fmla="*/ 6400800 w 6400800"/>
                <a:gd name="connsiteY2" fmla="*/ 822960 h 845820"/>
                <a:gd name="connsiteX3" fmla="*/ 6397916 w 6400800"/>
                <a:gd name="connsiteY3" fmla="*/ 845820 h 845820"/>
                <a:gd name="connsiteX4" fmla="*/ 2884 w 6400800"/>
                <a:gd name="connsiteY4" fmla="*/ 845820 h 845820"/>
                <a:gd name="connsiteX5" fmla="*/ 0 w 6400800"/>
                <a:gd name="connsiteY5" fmla="*/ 822960 h 845820"/>
                <a:gd name="connsiteX6" fmla="*/ 1029758 w 6400800"/>
                <a:gd name="connsiteY6" fmla="*/ 0 h 845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00800" h="845820">
                  <a:moveTo>
                    <a:pt x="1029758" y="0"/>
                  </a:moveTo>
                  <a:lnTo>
                    <a:pt x="5371042" y="0"/>
                  </a:lnTo>
                  <a:cubicBezTo>
                    <a:pt x="5939706" y="0"/>
                    <a:pt x="6400800" y="368427"/>
                    <a:pt x="6400800" y="822960"/>
                  </a:cubicBezTo>
                  <a:lnTo>
                    <a:pt x="6397916" y="845820"/>
                  </a:lnTo>
                  <a:lnTo>
                    <a:pt x="2884" y="845820"/>
                  </a:lnTo>
                  <a:lnTo>
                    <a:pt x="0" y="822960"/>
                  </a:lnTo>
                  <a:cubicBezTo>
                    <a:pt x="0" y="368427"/>
                    <a:pt x="461095" y="0"/>
                    <a:pt x="1029758" y="0"/>
                  </a:cubicBez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dirty="0"/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4105835" y="4927051"/>
              <a:ext cx="398033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 dirty="0" err="1" smtClean="0">
                  <a:solidFill>
                    <a:schemeClr val="accent1">
                      <a:lumMod val="7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সহকারী</a:t>
              </a:r>
              <a:r>
                <a:rPr lang="en-US" sz="3200" b="1" dirty="0" smtClean="0">
                  <a:solidFill>
                    <a:schemeClr val="accent1">
                      <a:lumMod val="7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 </a:t>
              </a:r>
              <a:r>
                <a:rPr lang="en-US" sz="3200" b="1" dirty="0" err="1" smtClean="0">
                  <a:solidFill>
                    <a:schemeClr val="accent1">
                      <a:lumMod val="7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অধ্যাপক</a:t>
              </a:r>
              <a:r>
                <a:rPr lang="en-US" sz="3200" b="1" dirty="0" smtClean="0">
                  <a:solidFill>
                    <a:schemeClr val="accent1">
                      <a:lumMod val="7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, </a:t>
              </a:r>
              <a:r>
                <a:rPr lang="en-US" sz="3200" b="1" dirty="0" err="1" smtClean="0">
                  <a:solidFill>
                    <a:schemeClr val="accent1">
                      <a:lumMod val="7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ব্যবস্থাপনা</a:t>
              </a:r>
              <a:endParaRPr lang="en-US" sz="3200" b="1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endParaRPr>
            </a:p>
          </p:txBody>
        </p:sp>
      </p:grpSp>
      <p:sp>
        <p:nvSpPr>
          <p:cNvPr id="20" name="Freeform 19"/>
          <p:cNvSpPr/>
          <p:nvPr/>
        </p:nvSpPr>
        <p:spPr>
          <a:xfrm>
            <a:off x="2598130" y="3828272"/>
            <a:ext cx="6995160" cy="1143000"/>
          </a:xfrm>
          <a:custGeom>
            <a:avLst/>
            <a:gdLst>
              <a:gd name="connsiteX0" fmla="*/ 918255 w 6301829"/>
              <a:gd name="connsiteY0" fmla="*/ 0 h 502920"/>
              <a:gd name="connsiteX1" fmla="*/ 5383574 w 6301829"/>
              <a:gd name="connsiteY1" fmla="*/ 0 h 502920"/>
              <a:gd name="connsiteX2" fmla="*/ 6261847 w 6301829"/>
              <a:gd name="connsiteY2" fmla="*/ 434402 h 502920"/>
              <a:gd name="connsiteX3" fmla="*/ 6301829 w 6301829"/>
              <a:gd name="connsiteY3" fmla="*/ 502920 h 502920"/>
              <a:gd name="connsiteX4" fmla="*/ 0 w 6301829"/>
              <a:gd name="connsiteY4" fmla="*/ 502920 h 502920"/>
              <a:gd name="connsiteX5" fmla="*/ 39981 w 6301829"/>
              <a:gd name="connsiteY5" fmla="*/ 434402 h 502920"/>
              <a:gd name="connsiteX6" fmla="*/ 918255 w 6301829"/>
              <a:gd name="connsiteY6" fmla="*/ 0 h 502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01829" h="502920">
                <a:moveTo>
                  <a:pt x="918255" y="0"/>
                </a:moveTo>
                <a:lnTo>
                  <a:pt x="5383574" y="0"/>
                </a:lnTo>
                <a:cubicBezTo>
                  <a:pt x="5749143" y="0"/>
                  <a:pt x="6071493" y="172309"/>
                  <a:pt x="6261847" y="434402"/>
                </a:cubicBezTo>
                <a:lnTo>
                  <a:pt x="6301829" y="502920"/>
                </a:lnTo>
                <a:lnTo>
                  <a:pt x="0" y="502920"/>
                </a:lnTo>
                <a:lnTo>
                  <a:pt x="39981" y="434402"/>
                </a:lnTo>
                <a:cubicBezTo>
                  <a:pt x="230335" y="172309"/>
                  <a:pt x="552685" y="0"/>
                  <a:pt x="918255" y="0"/>
                </a:cubicBezTo>
                <a:close/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6" name="Group 25"/>
          <p:cNvGrpSpPr/>
          <p:nvPr/>
        </p:nvGrpSpPr>
        <p:grpSpPr>
          <a:xfrm>
            <a:off x="2758440" y="5018445"/>
            <a:ext cx="6675120" cy="1097280"/>
            <a:chOff x="2712720" y="5486400"/>
            <a:chExt cx="6766560" cy="1371600"/>
          </a:xfrm>
        </p:grpSpPr>
        <p:sp>
          <p:nvSpPr>
            <p:cNvPr id="11" name="Freeform 10"/>
            <p:cNvSpPr/>
            <p:nvPr/>
          </p:nvSpPr>
          <p:spPr>
            <a:xfrm>
              <a:off x="2712720" y="5486400"/>
              <a:ext cx="6766560" cy="1371600"/>
            </a:xfrm>
            <a:custGeom>
              <a:avLst/>
              <a:gdLst>
                <a:gd name="connsiteX0" fmla="*/ 970915 w 6035040"/>
                <a:gd name="connsiteY0" fmla="*/ 0 h 662940"/>
                <a:gd name="connsiteX1" fmla="*/ 5064125 w 6035040"/>
                <a:gd name="connsiteY1" fmla="*/ 0 h 662940"/>
                <a:gd name="connsiteX2" fmla="*/ 6035040 w 6035040"/>
                <a:gd name="connsiteY2" fmla="*/ 640080 h 662940"/>
                <a:gd name="connsiteX3" fmla="*/ 6031544 w 6035040"/>
                <a:gd name="connsiteY3" fmla="*/ 662940 h 662940"/>
                <a:gd name="connsiteX4" fmla="*/ 3496 w 6035040"/>
                <a:gd name="connsiteY4" fmla="*/ 662940 h 662940"/>
                <a:gd name="connsiteX5" fmla="*/ 0 w 6035040"/>
                <a:gd name="connsiteY5" fmla="*/ 640080 h 662940"/>
                <a:gd name="connsiteX6" fmla="*/ 970915 w 6035040"/>
                <a:gd name="connsiteY6" fmla="*/ 0 h 662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035040" h="662940">
                  <a:moveTo>
                    <a:pt x="970915" y="0"/>
                  </a:moveTo>
                  <a:lnTo>
                    <a:pt x="5064125" y="0"/>
                  </a:lnTo>
                  <a:cubicBezTo>
                    <a:pt x="5600294" y="0"/>
                    <a:pt x="6035040" y="286554"/>
                    <a:pt x="6035040" y="640080"/>
                  </a:cubicBezTo>
                  <a:lnTo>
                    <a:pt x="6031544" y="662940"/>
                  </a:lnTo>
                  <a:lnTo>
                    <a:pt x="3496" y="662940"/>
                  </a:lnTo>
                  <a:lnTo>
                    <a:pt x="0" y="640080"/>
                  </a:lnTo>
                  <a:cubicBezTo>
                    <a:pt x="0" y="286554"/>
                    <a:pt x="434747" y="0"/>
                    <a:pt x="970915" y="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3940437" y="5511729"/>
              <a:ext cx="431112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 dirty="0" err="1">
                  <a:solidFill>
                    <a:schemeClr val="bg1">
                      <a:lumMod val="9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শেরপুর</a:t>
              </a:r>
              <a:r>
                <a:rPr lang="en-US" sz="3200" b="1" dirty="0">
                  <a:solidFill>
                    <a:schemeClr val="bg1">
                      <a:lumMod val="9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 </a:t>
              </a:r>
              <a:r>
                <a:rPr lang="en-US" sz="3200" b="1" dirty="0" err="1">
                  <a:solidFill>
                    <a:schemeClr val="bg1">
                      <a:lumMod val="9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সরকারি</a:t>
              </a:r>
              <a:r>
                <a:rPr lang="en-US" sz="3200" b="1" dirty="0">
                  <a:solidFill>
                    <a:schemeClr val="bg1">
                      <a:lumMod val="9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 </a:t>
              </a:r>
              <a:r>
                <a:rPr lang="en-US" sz="3200" b="1" dirty="0" err="1">
                  <a:solidFill>
                    <a:schemeClr val="bg1">
                      <a:lumMod val="9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কলেজ</a:t>
              </a:r>
              <a:r>
                <a:rPr lang="en-US" sz="3200" b="1" dirty="0">
                  <a:solidFill>
                    <a:schemeClr val="bg1">
                      <a:lumMod val="9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, </a:t>
              </a:r>
              <a:r>
                <a:rPr lang="en-US" sz="3200" b="1" dirty="0" err="1">
                  <a:solidFill>
                    <a:schemeClr val="bg1">
                      <a:lumMod val="9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শেরপুর</a:t>
              </a:r>
              <a:endParaRPr lang="en-US" sz="3200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</p:grpSp>
      <p:sp>
        <p:nvSpPr>
          <p:cNvPr id="18" name="Freeform 17"/>
          <p:cNvSpPr/>
          <p:nvPr/>
        </p:nvSpPr>
        <p:spPr>
          <a:xfrm>
            <a:off x="2438400" y="4963581"/>
            <a:ext cx="7315200" cy="1152144"/>
          </a:xfrm>
          <a:custGeom>
            <a:avLst/>
            <a:gdLst>
              <a:gd name="connsiteX0" fmla="*/ 140926 w 6583680"/>
              <a:gd name="connsiteY0" fmla="*/ 0 h 502920"/>
              <a:gd name="connsiteX1" fmla="*/ 6442755 w 6583680"/>
              <a:gd name="connsiteY1" fmla="*/ 0 h 502920"/>
              <a:gd name="connsiteX2" fmla="*/ 6500436 w 6583680"/>
              <a:gd name="connsiteY2" fmla="*/ 98852 h 502920"/>
              <a:gd name="connsiteX3" fmla="*/ 6583680 w 6583680"/>
              <a:gd name="connsiteY3" fmla="*/ 482393 h 502920"/>
              <a:gd name="connsiteX4" fmla="*/ 6581456 w 6583680"/>
              <a:gd name="connsiteY4" fmla="*/ 502920 h 502920"/>
              <a:gd name="connsiteX5" fmla="*/ 2226 w 6583680"/>
              <a:gd name="connsiteY5" fmla="*/ 502920 h 502920"/>
              <a:gd name="connsiteX6" fmla="*/ 0 w 6583680"/>
              <a:gd name="connsiteY6" fmla="*/ 482393 h 502920"/>
              <a:gd name="connsiteX7" fmla="*/ 83244 w 6583680"/>
              <a:gd name="connsiteY7" fmla="*/ 98852 h 502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583680" h="502920">
                <a:moveTo>
                  <a:pt x="140926" y="0"/>
                </a:moveTo>
                <a:lnTo>
                  <a:pt x="6442755" y="0"/>
                </a:lnTo>
                <a:lnTo>
                  <a:pt x="6500436" y="98852"/>
                </a:lnTo>
                <a:cubicBezTo>
                  <a:pt x="6554038" y="216735"/>
                  <a:pt x="6583680" y="346342"/>
                  <a:pt x="6583680" y="482393"/>
                </a:cubicBezTo>
                <a:lnTo>
                  <a:pt x="6581456" y="502920"/>
                </a:lnTo>
                <a:lnTo>
                  <a:pt x="2226" y="502920"/>
                </a:lnTo>
                <a:lnTo>
                  <a:pt x="0" y="482393"/>
                </a:lnTo>
                <a:cubicBezTo>
                  <a:pt x="0" y="346342"/>
                  <a:pt x="29642" y="216735"/>
                  <a:pt x="83244" y="98852"/>
                </a:cubicBezTo>
                <a:close/>
              </a:path>
            </a:pathLst>
          </a:cu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oup 12"/>
          <p:cNvGrpSpPr/>
          <p:nvPr/>
        </p:nvGrpSpPr>
        <p:grpSpPr>
          <a:xfrm>
            <a:off x="0" y="6126480"/>
            <a:ext cx="12192000" cy="731520"/>
            <a:chOff x="1003679" y="3038047"/>
            <a:chExt cx="9528183" cy="731520"/>
          </a:xfrm>
        </p:grpSpPr>
        <p:sp>
          <p:nvSpPr>
            <p:cNvPr id="14" name="Freeform 13"/>
            <p:cNvSpPr/>
            <p:nvPr/>
          </p:nvSpPr>
          <p:spPr>
            <a:xfrm>
              <a:off x="1109693" y="3038047"/>
              <a:ext cx="817597" cy="731520"/>
            </a:xfrm>
            <a:custGeom>
              <a:avLst/>
              <a:gdLst>
                <a:gd name="connsiteX0" fmla="*/ 0 w 817597"/>
                <a:gd name="connsiteY0" fmla="*/ 0 h 731520"/>
                <a:gd name="connsiteX1" fmla="*/ 86077 w 817597"/>
                <a:gd name="connsiteY1" fmla="*/ 0 h 731520"/>
                <a:gd name="connsiteX2" fmla="*/ 817597 w 817597"/>
                <a:gd name="connsiteY2" fmla="*/ 731520 h 731520"/>
                <a:gd name="connsiteX3" fmla="*/ 11357 w 817597"/>
                <a:gd name="connsiteY3" fmla="*/ 74415 h 731520"/>
                <a:gd name="connsiteX4" fmla="*/ 0 w 817597"/>
                <a:gd name="connsiteY4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597" h="731520">
                  <a:moveTo>
                    <a:pt x="0" y="0"/>
                  </a:moveTo>
                  <a:lnTo>
                    <a:pt x="86077" y="0"/>
                  </a:lnTo>
                  <a:cubicBezTo>
                    <a:pt x="86077" y="404007"/>
                    <a:pt x="413590" y="731520"/>
                    <a:pt x="817597" y="731520"/>
                  </a:cubicBezTo>
                  <a:cubicBezTo>
                    <a:pt x="419903" y="731520"/>
                    <a:pt x="88095" y="449424"/>
                    <a:pt x="11357" y="74415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A42700"/>
                </a:gs>
                <a:gs pos="74000">
                  <a:srgbClr val="A42700"/>
                </a:gs>
                <a:gs pos="83000">
                  <a:srgbClr val="A42700"/>
                </a:gs>
                <a:gs pos="100000">
                  <a:srgbClr val="A4270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Freeform 14"/>
            <p:cNvSpPr/>
            <p:nvPr/>
          </p:nvSpPr>
          <p:spPr>
            <a:xfrm>
              <a:off x="1287210" y="3038047"/>
              <a:ext cx="529509" cy="720374"/>
            </a:xfrm>
            <a:custGeom>
              <a:avLst/>
              <a:gdLst>
                <a:gd name="connsiteX0" fmla="*/ 9218 w 529509"/>
                <a:gd name="connsiteY0" fmla="*/ 0 h 720374"/>
                <a:gd name="connsiteX1" fmla="*/ 125033 w 529509"/>
                <a:gd name="connsiteY1" fmla="*/ 0 h 720374"/>
                <a:gd name="connsiteX2" fmla="*/ 102586 w 529509"/>
                <a:gd name="connsiteY2" fmla="*/ 72310 h 720374"/>
                <a:gd name="connsiteX3" fmla="*/ 91440 w 529509"/>
                <a:gd name="connsiteY3" fmla="*/ 182880 h 720374"/>
                <a:gd name="connsiteX4" fmla="*/ 426524 w 529509"/>
                <a:gd name="connsiteY4" fmla="*/ 688405 h 720374"/>
                <a:gd name="connsiteX5" fmla="*/ 529509 w 529509"/>
                <a:gd name="connsiteY5" fmla="*/ 720374 h 720374"/>
                <a:gd name="connsiteX6" fmla="*/ 511082 w 529509"/>
                <a:gd name="connsiteY6" fmla="*/ 718516 h 720374"/>
                <a:gd name="connsiteX7" fmla="*/ 0 w 529509"/>
                <a:gd name="connsiteY7" fmla="*/ 91440 h 720374"/>
                <a:gd name="connsiteX8" fmla="*/ 9218 w 529509"/>
                <a:gd name="connsiteY8" fmla="*/ 0 h 720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9509" h="720374">
                  <a:moveTo>
                    <a:pt x="9218" y="0"/>
                  </a:moveTo>
                  <a:lnTo>
                    <a:pt x="125033" y="0"/>
                  </a:lnTo>
                  <a:lnTo>
                    <a:pt x="102586" y="72310"/>
                  </a:lnTo>
                  <a:cubicBezTo>
                    <a:pt x="95278" y="108025"/>
                    <a:pt x="91440" y="145004"/>
                    <a:pt x="91440" y="182880"/>
                  </a:cubicBezTo>
                  <a:cubicBezTo>
                    <a:pt x="91440" y="410135"/>
                    <a:pt x="229609" y="605117"/>
                    <a:pt x="426524" y="688405"/>
                  </a:cubicBezTo>
                  <a:lnTo>
                    <a:pt x="529509" y="720374"/>
                  </a:lnTo>
                  <a:lnTo>
                    <a:pt x="511082" y="718516"/>
                  </a:lnTo>
                  <a:cubicBezTo>
                    <a:pt x="219408" y="658831"/>
                    <a:pt x="0" y="400758"/>
                    <a:pt x="0" y="91440"/>
                  </a:cubicBezTo>
                  <a:lnTo>
                    <a:pt x="9218" y="0"/>
                  </a:lnTo>
                  <a:close/>
                </a:path>
              </a:pathLst>
            </a:custGeom>
            <a:ln>
              <a:noFill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reeform 15"/>
            <p:cNvSpPr/>
            <p:nvPr/>
          </p:nvSpPr>
          <p:spPr>
            <a:xfrm>
              <a:off x="9718822" y="3038047"/>
              <a:ext cx="529508" cy="720374"/>
            </a:xfrm>
            <a:custGeom>
              <a:avLst/>
              <a:gdLst>
                <a:gd name="connsiteX0" fmla="*/ 404475 w 529508"/>
                <a:gd name="connsiteY0" fmla="*/ 0 h 720374"/>
                <a:gd name="connsiteX1" fmla="*/ 520290 w 529508"/>
                <a:gd name="connsiteY1" fmla="*/ 0 h 720374"/>
                <a:gd name="connsiteX2" fmla="*/ 529508 w 529508"/>
                <a:gd name="connsiteY2" fmla="*/ 91440 h 720374"/>
                <a:gd name="connsiteX3" fmla="*/ 18426 w 529508"/>
                <a:gd name="connsiteY3" fmla="*/ 718516 h 720374"/>
                <a:gd name="connsiteX4" fmla="*/ 0 w 529508"/>
                <a:gd name="connsiteY4" fmla="*/ 720374 h 720374"/>
                <a:gd name="connsiteX5" fmla="*/ 102984 w 529508"/>
                <a:gd name="connsiteY5" fmla="*/ 688405 h 720374"/>
                <a:gd name="connsiteX6" fmla="*/ 438068 w 529508"/>
                <a:gd name="connsiteY6" fmla="*/ 182880 h 720374"/>
                <a:gd name="connsiteX7" fmla="*/ 426922 w 529508"/>
                <a:gd name="connsiteY7" fmla="*/ 72310 h 720374"/>
                <a:gd name="connsiteX8" fmla="*/ 404475 w 529508"/>
                <a:gd name="connsiteY8" fmla="*/ 0 h 720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9508" h="720374">
                  <a:moveTo>
                    <a:pt x="404475" y="0"/>
                  </a:moveTo>
                  <a:lnTo>
                    <a:pt x="520290" y="0"/>
                  </a:lnTo>
                  <a:lnTo>
                    <a:pt x="529508" y="91440"/>
                  </a:lnTo>
                  <a:cubicBezTo>
                    <a:pt x="529508" y="400758"/>
                    <a:pt x="310100" y="658831"/>
                    <a:pt x="18426" y="718516"/>
                  </a:cubicBezTo>
                  <a:lnTo>
                    <a:pt x="0" y="720374"/>
                  </a:lnTo>
                  <a:lnTo>
                    <a:pt x="102984" y="688405"/>
                  </a:lnTo>
                  <a:cubicBezTo>
                    <a:pt x="299899" y="605117"/>
                    <a:pt x="438068" y="410135"/>
                    <a:pt x="438068" y="182880"/>
                  </a:cubicBezTo>
                  <a:cubicBezTo>
                    <a:pt x="438068" y="145004"/>
                    <a:pt x="434230" y="108025"/>
                    <a:pt x="426922" y="72310"/>
                  </a:cubicBezTo>
                  <a:lnTo>
                    <a:pt x="404475" y="0"/>
                  </a:lnTo>
                  <a:close/>
                </a:path>
              </a:pathLst>
            </a:custGeom>
            <a:ln>
              <a:noFill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Freeform 16"/>
            <p:cNvSpPr/>
            <p:nvPr/>
          </p:nvSpPr>
          <p:spPr>
            <a:xfrm>
              <a:off x="9608250" y="3038047"/>
              <a:ext cx="817597" cy="731520"/>
            </a:xfrm>
            <a:custGeom>
              <a:avLst/>
              <a:gdLst>
                <a:gd name="connsiteX0" fmla="*/ 731520 w 817597"/>
                <a:gd name="connsiteY0" fmla="*/ 0 h 731520"/>
                <a:gd name="connsiteX1" fmla="*/ 817597 w 817597"/>
                <a:gd name="connsiteY1" fmla="*/ 0 h 731520"/>
                <a:gd name="connsiteX2" fmla="*/ 806240 w 817597"/>
                <a:gd name="connsiteY2" fmla="*/ 74415 h 731520"/>
                <a:gd name="connsiteX3" fmla="*/ 0 w 817597"/>
                <a:gd name="connsiteY3" fmla="*/ 731520 h 731520"/>
                <a:gd name="connsiteX4" fmla="*/ 731520 w 817597"/>
                <a:gd name="connsiteY4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597" h="731520">
                  <a:moveTo>
                    <a:pt x="731520" y="0"/>
                  </a:moveTo>
                  <a:lnTo>
                    <a:pt x="817597" y="0"/>
                  </a:lnTo>
                  <a:lnTo>
                    <a:pt x="806240" y="74415"/>
                  </a:lnTo>
                  <a:cubicBezTo>
                    <a:pt x="729502" y="449424"/>
                    <a:pt x="397694" y="731520"/>
                    <a:pt x="0" y="731520"/>
                  </a:cubicBezTo>
                  <a:cubicBezTo>
                    <a:pt x="404007" y="731520"/>
                    <a:pt x="731520" y="404007"/>
                    <a:pt x="731520" y="0"/>
                  </a:cubicBezTo>
                  <a:close/>
                </a:path>
              </a:pathLst>
            </a:custGeom>
            <a:gradFill>
              <a:gsLst>
                <a:gs pos="0">
                  <a:srgbClr val="A42700"/>
                </a:gs>
                <a:gs pos="74000">
                  <a:srgbClr val="A42700"/>
                </a:gs>
                <a:gs pos="83000">
                  <a:srgbClr val="A42700"/>
                </a:gs>
                <a:gs pos="100000">
                  <a:srgbClr val="A4270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reeform 18"/>
            <p:cNvSpPr/>
            <p:nvPr/>
          </p:nvSpPr>
          <p:spPr>
            <a:xfrm>
              <a:off x="1816719" y="3758421"/>
              <a:ext cx="110571" cy="11146"/>
            </a:xfrm>
            <a:custGeom>
              <a:avLst/>
              <a:gdLst>
                <a:gd name="connsiteX0" fmla="*/ 0 w 110571"/>
                <a:gd name="connsiteY0" fmla="*/ 0 h 11146"/>
                <a:gd name="connsiteX1" fmla="*/ 110571 w 110571"/>
                <a:gd name="connsiteY1" fmla="*/ 11146 h 11146"/>
                <a:gd name="connsiteX2" fmla="*/ 1 w 110571"/>
                <a:gd name="connsiteY2" fmla="*/ 0 h 11146"/>
                <a:gd name="connsiteX3" fmla="*/ 0 w 110571"/>
                <a:gd name="connsiteY3" fmla="*/ 0 h 1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571" h="11146">
                  <a:moveTo>
                    <a:pt x="0" y="0"/>
                  </a:moveTo>
                  <a:lnTo>
                    <a:pt x="110571" y="11146"/>
                  </a:lnTo>
                  <a:cubicBezTo>
                    <a:pt x="72695" y="11146"/>
                    <a:pt x="35716" y="7308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Freeform 26"/>
            <p:cNvSpPr/>
            <p:nvPr/>
          </p:nvSpPr>
          <p:spPr>
            <a:xfrm>
              <a:off x="9608250" y="3758421"/>
              <a:ext cx="110572" cy="11146"/>
            </a:xfrm>
            <a:custGeom>
              <a:avLst/>
              <a:gdLst>
                <a:gd name="connsiteX0" fmla="*/ 110572 w 110572"/>
                <a:gd name="connsiteY0" fmla="*/ 0 h 11146"/>
                <a:gd name="connsiteX1" fmla="*/ 110570 w 110572"/>
                <a:gd name="connsiteY1" fmla="*/ 0 h 11146"/>
                <a:gd name="connsiteX2" fmla="*/ 0 w 110572"/>
                <a:gd name="connsiteY2" fmla="*/ 11146 h 11146"/>
                <a:gd name="connsiteX3" fmla="*/ 110572 w 110572"/>
                <a:gd name="connsiteY3" fmla="*/ 0 h 1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572" h="11146">
                  <a:moveTo>
                    <a:pt x="110572" y="0"/>
                  </a:moveTo>
                  <a:lnTo>
                    <a:pt x="110570" y="0"/>
                  </a:lnTo>
                  <a:cubicBezTo>
                    <a:pt x="74855" y="7308"/>
                    <a:pt x="37876" y="11146"/>
                    <a:pt x="0" y="11146"/>
                  </a:cubicBezTo>
                  <a:lnTo>
                    <a:pt x="110572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Freeform 27"/>
            <p:cNvSpPr/>
            <p:nvPr/>
          </p:nvSpPr>
          <p:spPr>
            <a:xfrm>
              <a:off x="1003679" y="3038047"/>
              <a:ext cx="923611" cy="731520"/>
            </a:xfrm>
            <a:custGeom>
              <a:avLst/>
              <a:gdLst>
                <a:gd name="connsiteX0" fmla="*/ 0 w 923611"/>
                <a:gd name="connsiteY0" fmla="*/ 0 h 731520"/>
                <a:gd name="connsiteX1" fmla="*/ 106014 w 923611"/>
                <a:gd name="connsiteY1" fmla="*/ 0 h 731520"/>
                <a:gd name="connsiteX2" fmla="*/ 117371 w 923611"/>
                <a:gd name="connsiteY2" fmla="*/ 74415 h 731520"/>
                <a:gd name="connsiteX3" fmla="*/ 923611 w 923611"/>
                <a:gd name="connsiteY3" fmla="*/ 731520 h 731520"/>
                <a:gd name="connsiteX4" fmla="*/ 856017 w 923611"/>
                <a:gd name="connsiteY4" fmla="*/ 731520 h 731520"/>
                <a:gd name="connsiteX5" fmla="*/ 5900 w 923611"/>
                <a:gd name="connsiteY5" fmla="*/ 38654 h 731520"/>
                <a:gd name="connsiteX6" fmla="*/ 0 w 923611"/>
                <a:gd name="connsiteY6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3611" h="731520">
                  <a:moveTo>
                    <a:pt x="0" y="0"/>
                  </a:moveTo>
                  <a:lnTo>
                    <a:pt x="106014" y="0"/>
                  </a:lnTo>
                  <a:lnTo>
                    <a:pt x="117371" y="74415"/>
                  </a:lnTo>
                  <a:cubicBezTo>
                    <a:pt x="194109" y="449424"/>
                    <a:pt x="525917" y="731520"/>
                    <a:pt x="923611" y="731520"/>
                  </a:cubicBezTo>
                  <a:lnTo>
                    <a:pt x="856017" y="731520"/>
                  </a:lnTo>
                  <a:cubicBezTo>
                    <a:pt x="436679" y="731520"/>
                    <a:pt x="86814" y="434072"/>
                    <a:pt x="5900" y="38654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chemeClr val="accent6">
                    <a:lumMod val="50000"/>
                  </a:schemeClr>
                </a:gs>
                <a:gs pos="74000">
                  <a:schemeClr val="accent6">
                    <a:lumMod val="50000"/>
                  </a:schemeClr>
                </a:gs>
                <a:gs pos="83000">
                  <a:schemeClr val="accent6">
                    <a:lumMod val="50000"/>
                  </a:schemeClr>
                </a:gs>
                <a:gs pos="100000">
                  <a:schemeClr val="accent6">
                    <a:lumMod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Freeform 28"/>
            <p:cNvSpPr/>
            <p:nvPr/>
          </p:nvSpPr>
          <p:spPr>
            <a:xfrm>
              <a:off x="1195770" y="3038047"/>
              <a:ext cx="731520" cy="731520"/>
            </a:xfrm>
            <a:custGeom>
              <a:avLst/>
              <a:gdLst>
                <a:gd name="connsiteX0" fmla="*/ 0 w 731520"/>
                <a:gd name="connsiteY0" fmla="*/ 0 h 731520"/>
                <a:gd name="connsiteX1" fmla="*/ 100658 w 731520"/>
                <a:gd name="connsiteY1" fmla="*/ 0 h 731520"/>
                <a:gd name="connsiteX2" fmla="*/ 91440 w 731520"/>
                <a:gd name="connsiteY2" fmla="*/ 91440 h 731520"/>
                <a:gd name="connsiteX3" fmla="*/ 602522 w 731520"/>
                <a:gd name="connsiteY3" fmla="*/ 718516 h 731520"/>
                <a:gd name="connsiteX4" fmla="*/ 620949 w 731520"/>
                <a:gd name="connsiteY4" fmla="*/ 720374 h 731520"/>
                <a:gd name="connsiteX5" fmla="*/ 620950 w 731520"/>
                <a:gd name="connsiteY5" fmla="*/ 720374 h 731520"/>
                <a:gd name="connsiteX6" fmla="*/ 731520 w 731520"/>
                <a:gd name="connsiteY6" fmla="*/ 731520 h 731520"/>
                <a:gd name="connsiteX7" fmla="*/ 0 w 731520"/>
                <a:gd name="connsiteY7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0" h="731520">
                  <a:moveTo>
                    <a:pt x="0" y="0"/>
                  </a:moveTo>
                  <a:lnTo>
                    <a:pt x="100658" y="0"/>
                  </a:lnTo>
                  <a:lnTo>
                    <a:pt x="91440" y="91440"/>
                  </a:lnTo>
                  <a:cubicBezTo>
                    <a:pt x="91440" y="400758"/>
                    <a:pt x="310848" y="658831"/>
                    <a:pt x="602522" y="718516"/>
                  </a:cubicBezTo>
                  <a:lnTo>
                    <a:pt x="620949" y="720374"/>
                  </a:lnTo>
                  <a:lnTo>
                    <a:pt x="620950" y="720374"/>
                  </a:lnTo>
                  <a:cubicBezTo>
                    <a:pt x="656665" y="727682"/>
                    <a:pt x="693644" y="731520"/>
                    <a:pt x="731520" y="731520"/>
                  </a:cubicBezTo>
                  <a:cubicBezTo>
                    <a:pt x="327513" y="731520"/>
                    <a:pt x="0" y="404007"/>
                    <a:pt x="0" y="0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Freeform 29"/>
            <p:cNvSpPr/>
            <p:nvPr/>
          </p:nvSpPr>
          <p:spPr>
            <a:xfrm>
              <a:off x="1378650" y="3038047"/>
              <a:ext cx="8778240" cy="731520"/>
            </a:xfrm>
            <a:custGeom>
              <a:avLst/>
              <a:gdLst>
                <a:gd name="connsiteX0" fmla="*/ 33593 w 8778240"/>
                <a:gd name="connsiteY0" fmla="*/ 0 h 731520"/>
                <a:gd name="connsiteX1" fmla="*/ 8744647 w 8778240"/>
                <a:gd name="connsiteY1" fmla="*/ 0 h 731520"/>
                <a:gd name="connsiteX2" fmla="*/ 8767094 w 8778240"/>
                <a:gd name="connsiteY2" fmla="*/ 72310 h 731520"/>
                <a:gd name="connsiteX3" fmla="*/ 8778240 w 8778240"/>
                <a:gd name="connsiteY3" fmla="*/ 182880 h 731520"/>
                <a:gd name="connsiteX4" fmla="*/ 8443156 w 8778240"/>
                <a:gd name="connsiteY4" fmla="*/ 688405 h 731520"/>
                <a:gd name="connsiteX5" fmla="*/ 8340172 w 8778240"/>
                <a:gd name="connsiteY5" fmla="*/ 720374 h 731520"/>
                <a:gd name="connsiteX6" fmla="*/ 8229600 w 8778240"/>
                <a:gd name="connsiteY6" fmla="*/ 731520 h 731520"/>
                <a:gd name="connsiteX7" fmla="*/ 548640 w 8778240"/>
                <a:gd name="connsiteY7" fmla="*/ 731520 h 731520"/>
                <a:gd name="connsiteX8" fmla="*/ 438069 w 8778240"/>
                <a:gd name="connsiteY8" fmla="*/ 720374 h 731520"/>
                <a:gd name="connsiteX9" fmla="*/ 335084 w 8778240"/>
                <a:gd name="connsiteY9" fmla="*/ 688405 h 731520"/>
                <a:gd name="connsiteX10" fmla="*/ 0 w 8778240"/>
                <a:gd name="connsiteY10" fmla="*/ 182880 h 731520"/>
                <a:gd name="connsiteX11" fmla="*/ 11146 w 8778240"/>
                <a:gd name="connsiteY11" fmla="*/ 72310 h 731520"/>
                <a:gd name="connsiteX12" fmla="*/ 33593 w 8778240"/>
                <a:gd name="connsiteY12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78240" h="731520">
                  <a:moveTo>
                    <a:pt x="33593" y="0"/>
                  </a:moveTo>
                  <a:lnTo>
                    <a:pt x="8744647" y="0"/>
                  </a:lnTo>
                  <a:lnTo>
                    <a:pt x="8767094" y="72310"/>
                  </a:lnTo>
                  <a:cubicBezTo>
                    <a:pt x="8774402" y="108025"/>
                    <a:pt x="8778240" y="145004"/>
                    <a:pt x="8778240" y="182880"/>
                  </a:cubicBezTo>
                  <a:cubicBezTo>
                    <a:pt x="8778240" y="410135"/>
                    <a:pt x="8640071" y="605117"/>
                    <a:pt x="8443156" y="688405"/>
                  </a:cubicBezTo>
                  <a:lnTo>
                    <a:pt x="8340172" y="720374"/>
                  </a:lnTo>
                  <a:lnTo>
                    <a:pt x="8229600" y="731520"/>
                  </a:lnTo>
                  <a:lnTo>
                    <a:pt x="548640" y="731520"/>
                  </a:lnTo>
                  <a:lnTo>
                    <a:pt x="438069" y="720374"/>
                  </a:lnTo>
                  <a:lnTo>
                    <a:pt x="335084" y="688405"/>
                  </a:lnTo>
                  <a:cubicBezTo>
                    <a:pt x="138169" y="605117"/>
                    <a:pt x="0" y="410135"/>
                    <a:pt x="0" y="182880"/>
                  </a:cubicBezTo>
                  <a:cubicBezTo>
                    <a:pt x="0" y="145004"/>
                    <a:pt x="3838" y="108025"/>
                    <a:pt x="11146" y="72310"/>
                  </a:cubicBezTo>
                  <a:lnTo>
                    <a:pt x="33593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Freeform 30"/>
            <p:cNvSpPr/>
            <p:nvPr/>
          </p:nvSpPr>
          <p:spPr>
            <a:xfrm>
              <a:off x="9608250" y="3038047"/>
              <a:ext cx="731520" cy="731520"/>
            </a:xfrm>
            <a:custGeom>
              <a:avLst/>
              <a:gdLst>
                <a:gd name="connsiteX0" fmla="*/ 630862 w 731520"/>
                <a:gd name="connsiteY0" fmla="*/ 0 h 731520"/>
                <a:gd name="connsiteX1" fmla="*/ 731520 w 731520"/>
                <a:gd name="connsiteY1" fmla="*/ 0 h 731520"/>
                <a:gd name="connsiteX2" fmla="*/ 0 w 731520"/>
                <a:gd name="connsiteY2" fmla="*/ 731520 h 731520"/>
                <a:gd name="connsiteX3" fmla="*/ 110570 w 731520"/>
                <a:gd name="connsiteY3" fmla="*/ 720374 h 731520"/>
                <a:gd name="connsiteX4" fmla="*/ 110572 w 731520"/>
                <a:gd name="connsiteY4" fmla="*/ 720374 h 731520"/>
                <a:gd name="connsiteX5" fmla="*/ 128998 w 731520"/>
                <a:gd name="connsiteY5" fmla="*/ 718516 h 731520"/>
                <a:gd name="connsiteX6" fmla="*/ 640080 w 731520"/>
                <a:gd name="connsiteY6" fmla="*/ 91440 h 731520"/>
                <a:gd name="connsiteX7" fmla="*/ 630862 w 731520"/>
                <a:gd name="connsiteY7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0" h="731520">
                  <a:moveTo>
                    <a:pt x="630862" y="0"/>
                  </a:moveTo>
                  <a:lnTo>
                    <a:pt x="731520" y="0"/>
                  </a:lnTo>
                  <a:cubicBezTo>
                    <a:pt x="731520" y="404007"/>
                    <a:pt x="404007" y="731520"/>
                    <a:pt x="0" y="731520"/>
                  </a:cubicBezTo>
                  <a:cubicBezTo>
                    <a:pt x="37876" y="731520"/>
                    <a:pt x="74855" y="727682"/>
                    <a:pt x="110570" y="720374"/>
                  </a:cubicBezTo>
                  <a:lnTo>
                    <a:pt x="110572" y="720374"/>
                  </a:lnTo>
                  <a:lnTo>
                    <a:pt x="128998" y="718516"/>
                  </a:lnTo>
                  <a:cubicBezTo>
                    <a:pt x="420672" y="658831"/>
                    <a:pt x="640080" y="400758"/>
                    <a:pt x="640080" y="91440"/>
                  </a:cubicBezTo>
                  <a:lnTo>
                    <a:pt x="630862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Freeform 31"/>
            <p:cNvSpPr/>
            <p:nvPr/>
          </p:nvSpPr>
          <p:spPr>
            <a:xfrm>
              <a:off x="9608250" y="3038047"/>
              <a:ext cx="923612" cy="731520"/>
            </a:xfrm>
            <a:custGeom>
              <a:avLst/>
              <a:gdLst>
                <a:gd name="connsiteX0" fmla="*/ 817597 w 923612"/>
                <a:gd name="connsiteY0" fmla="*/ 0 h 731520"/>
                <a:gd name="connsiteX1" fmla="*/ 923612 w 923612"/>
                <a:gd name="connsiteY1" fmla="*/ 0 h 731520"/>
                <a:gd name="connsiteX2" fmla="*/ 917712 w 923612"/>
                <a:gd name="connsiteY2" fmla="*/ 38654 h 731520"/>
                <a:gd name="connsiteX3" fmla="*/ 67595 w 923612"/>
                <a:gd name="connsiteY3" fmla="*/ 731520 h 731520"/>
                <a:gd name="connsiteX4" fmla="*/ 0 w 923612"/>
                <a:gd name="connsiteY4" fmla="*/ 731520 h 731520"/>
                <a:gd name="connsiteX5" fmla="*/ 806240 w 923612"/>
                <a:gd name="connsiteY5" fmla="*/ 74415 h 731520"/>
                <a:gd name="connsiteX6" fmla="*/ 817597 w 923612"/>
                <a:gd name="connsiteY6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3612" h="731520">
                  <a:moveTo>
                    <a:pt x="817597" y="0"/>
                  </a:moveTo>
                  <a:lnTo>
                    <a:pt x="923612" y="0"/>
                  </a:lnTo>
                  <a:lnTo>
                    <a:pt x="917712" y="38654"/>
                  </a:lnTo>
                  <a:cubicBezTo>
                    <a:pt x="836798" y="434072"/>
                    <a:pt x="486933" y="731520"/>
                    <a:pt x="67595" y="731520"/>
                  </a:cubicBezTo>
                  <a:lnTo>
                    <a:pt x="0" y="731520"/>
                  </a:lnTo>
                  <a:cubicBezTo>
                    <a:pt x="397694" y="731520"/>
                    <a:pt x="729502" y="449424"/>
                    <a:pt x="806240" y="74415"/>
                  </a:cubicBezTo>
                  <a:lnTo>
                    <a:pt x="817597" y="0"/>
                  </a:lnTo>
                  <a:close/>
                </a:path>
              </a:pathLst>
            </a:custGeom>
            <a:gradFill>
              <a:gsLst>
                <a:gs pos="0">
                  <a:schemeClr val="accent6">
                    <a:lumMod val="50000"/>
                  </a:schemeClr>
                </a:gs>
                <a:gs pos="74000">
                  <a:schemeClr val="accent6">
                    <a:lumMod val="50000"/>
                  </a:schemeClr>
                </a:gs>
                <a:gs pos="83000">
                  <a:schemeClr val="accent6">
                    <a:lumMod val="50000"/>
                  </a:schemeClr>
                </a:gs>
                <a:gs pos="100000">
                  <a:schemeClr val="accent6">
                    <a:lumMod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3" name="Group 32"/>
          <p:cNvGrpSpPr/>
          <p:nvPr/>
        </p:nvGrpSpPr>
        <p:grpSpPr>
          <a:xfrm flipV="1">
            <a:off x="0" y="0"/>
            <a:ext cx="12192000" cy="731520"/>
            <a:chOff x="1003679" y="3038047"/>
            <a:chExt cx="9528183" cy="731520"/>
          </a:xfrm>
        </p:grpSpPr>
        <p:sp>
          <p:nvSpPr>
            <p:cNvPr id="34" name="Freeform 33"/>
            <p:cNvSpPr/>
            <p:nvPr/>
          </p:nvSpPr>
          <p:spPr>
            <a:xfrm>
              <a:off x="1109693" y="3038047"/>
              <a:ext cx="817597" cy="731520"/>
            </a:xfrm>
            <a:custGeom>
              <a:avLst/>
              <a:gdLst>
                <a:gd name="connsiteX0" fmla="*/ 0 w 817597"/>
                <a:gd name="connsiteY0" fmla="*/ 0 h 731520"/>
                <a:gd name="connsiteX1" fmla="*/ 86077 w 817597"/>
                <a:gd name="connsiteY1" fmla="*/ 0 h 731520"/>
                <a:gd name="connsiteX2" fmla="*/ 817597 w 817597"/>
                <a:gd name="connsiteY2" fmla="*/ 731520 h 731520"/>
                <a:gd name="connsiteX3" fmla="*/ 11357 w 817597"/>
                <a:gd name="connsiteY3" fmla="*/ 74415 h 731520"/>
                <a:gd name="connsiteX4" fmla="*/ 0 w 817597"/>
                <a:gd name="connsiteY4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597" h="731520">
                  <a:moveTo>
                    <a:pt x="0" y="0"/>
                  </a:moveTo>
                  <a:lnTo>
                    <a:pt x="86077" y="0"/>
                  </a:lnTo>
                  <a:cubicBezTo>
                    <a:pt x="86077" y="404007"/>
                    <a:pt x="413590" y="731520"/>
                    <a:pt x="817597" y="731520"/>
                  </a:cubicBezTo>
                  <a:cubicBezTo>
                    <a:pt x="419903" y="731520"/>
                    <a:pt x="88095" y="449424"/>
                    <a:pt x="11357" y="74415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A42700"/>
                </a:gs>
                <a:gs pos="74000">
                  <a:srgbClr val="A42700"/>
                </a:gs>
                <a:gs pos="83000">
                  <a:srgbClr val="A42700"/>
                </a:gs>
                <a:gs pos="100000">
                  <a:srgbClr val="A4270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Freeform 34"/>
            <p:cNvSpPr/>
            <p:nvPr/>
          </p:nvSpPr>
          <p:spPr>
            <a:xfrm>
              <a:off x="1287210" y="3038047"/>
              <a:ext cx="529509" cy="720374"/>
            </a:xfrm>
            <a:custGeom>
              <a:avLst/>
              <a:gdLst>
                <a:gd name="connsiteX0" fmla="*/ 9218 w 529509"/>
                <a:gd name="connsiteY0" fmla="*/ 0 h 720374"/>
                <a:gd name="connsiteX1" fmla="*/ 125033 w 529509"/>
                <a:gd name="connsiteY1" fmla="*/ 0 h 720374"/>
                <a:gd name="connsiteX2" fmla="*/ 102586 w 529509"/>
                <a:gd name="connsiteY2" fmla="*/ 72310 h 720374"/>
                <a:gd name="connsiteX3" fmla="*/ 91440 w 529509"/>
                <a:gd name="connsiteY3" fmla="*/ 182880 h 720374"/>
                <a:gd name="connsiteX4" fmla="*/ 426524 w 529509"/>
                <a:gd name="connsiteY4" fmla="*/ 688405 h 720374"/>
                <a:gd name="connsiteX5" fmla="*/ 529509 w 529509"/>
                <a:gd name="connsiteY5" fmla="*/ 720374 h 720374"/>
                <a:gd name="connsiteX6" fmla="*/ 511082 w 529509"/>
                <a:gd name="connsiteY6" fmla="*/ 718516 h 720374"/>
                <a:gd name="connsiteX7" fmla="*/ 0 w 529509"/>
                <a:gd name="connsiteY7" fmla="*/ 91440 h 720374"/>
                <a:gd name="connsiteX8" fmla="*/ 9218 w 529509"/>
                <a:gd name="connsiteY8" fmla="*/ 0 h 720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9509" h="720374">
                  <a:moveTo>
                    <a:pt x="9218" y="0"/>
                  </a:moveTo>
                  <a:lnTo>
                    <a:pt x="125033" y="0"/>
                  </a:lnTo>
                  <a:lnTo>
                    <a:pt x="102586" y="72310"/>
                  </a:lnTo>
                  <a:cubicBezTo>
                    <a:pt x="95278" y="108025"/>
                    <a:pt x="91440" y="145004"/>
                    <a:pt x="91440" y="182880"/>
                  </a:cubicBezTo>
                  <a:cubicBezTo>
                    <a:pt x="91440" y="410135"/>
                    <a:pt x="229609" y="605117"/>
                    <a:pt x="426524" y="688405"/>
                  </a:cubicBezTo>
                  <a:lnTo>
                    <a:pt x="529509" y="720374"/>
                  </a:lnTo>
                  <a:lnTo>
                    <a:pt x="511082" y="718516"/>
                  </a:lnTo>
                  <a:cubicBezTo>
                    <a:pt x="219408" y="658831"/>
                    <a:pt x="0" y="400758"/>
                    <a:pt x="0" y="91440"/>
                  </a:cubicBezTo>
                  <a:lnTo>
                    <a:pt x="9218" y="0"/>
                  </a:lnTo>
                  <a:close/>
                </a:path>
              </a:pathLst>
            </a:custGeom>
            <a:ln>
              <a:noFill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Freeform 35"/>
            <p:cNvSpPr/>
            <p:nvPr/>
          </p:nvSpPr>
          <p:spPr>
            <a:xfrm>
              <a:off x="9718822" y="3038047"/>
              <a:ext cx="529508" cy="720374"/>
            </a:xfrm>
            <a:custGeom>
              <a:avLst/>
              <a:gdLst>
                <a:gd name="connsiteX0" fmla="*/ 404475 w 529508"/>
                <a:gd name="connsiteY0" fmla="*/ 0 h 720374"/>
                <a:gd name="connsiteX1" fmla="*/ 520290 w 529508"/>
                <a:gd name="connsiteY1" fmla="*/ 0 h 720374"/>
                <a:gd name="connsiteX2" fmla="*/ 529508 w 529508"/>
                <a:gd name="connsiteY2" fmla="*/ 91440 h 720374"/>
                <a:gd name="connsiteX3" fmla="*/ 18426 w 529508"/>
                <a:gd name="connsiteY3" fmla="*/ 718516 h 720374"/>
                <a:gd name="connsiteX4" fmla="*/ 0 w 529508"/>
                <a:gd name="connsiteY4" fmla="*/ 720374 h 720374"/>
                <a:gd name="connsiteX5" fmla="*/ 102984 w 529508"/>
                <a:gd name="connsiteY5" fmla="*/ 688405 h 720374"/>
                <a:gd name="connsiteX6" fmla="*/ 438068 w 529508"/>
                <a:gd name="connsiteY6" fmla="*/ 182880 h 720374"/>
                <a:gd name="connsiteX7" fmla="*/ 426922 w 529508"/>
                <a:gd name="connsiteY7" fmla="*/ 72310 h 720374"/>
                <a:gd name="connsiteX8" fmla="*/ 404475 w 529508"/>
                <a:gd name="connsiteY8" fmla="*/ 0 h 720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9508" h="720374">
                  <a:moveTo>
                    <a:pt x="404475" y="0"/>
                  </a:moveTo>
                  <a:lnTo>
                    <a:pt x="520290" y="0"/>
                  </a:lnTo>
                  <a:lnTo>
                    <a:pt x="529508" y="91440"/>
                  </a:lnTo>
                  <a:cubicBezTo>
                    <a:pt x="529508" y="400758"/>
                    <a:pt x="310100" y="658831"/>
                    <a:pt x="18426" y="718516"/>
                  </a:cubicBezTo>
                  <a:lnTo>
                    <a:pt x="0" y="720374"/>
                  </a:lnTo>
                  <a:lnTo>
                    <a:pt x="102984" y="688405"/>
                  </a:lnTo>
                  <a:cubicBezTo>
                    <a:pt x="299899" y="605117"/>
                    <a:pt x="438068" y="410135"/>
                    <a:pt x="438068" y="182880"/>
                  </a:cubicBezTo>
                  <a:cubicBezTo>
                    <a:pt x="438068" y="145004"/>
                    <a:pt x="434230" y="108025"/>
                    <a:pt x="426922" y="72310"/>
                  </a:cubicBezTo>
                  <a:lnTo>
                    <a:pt x="404475" y="0"/>
                  </a:lnTo>
                  <a:close/>
                </a:path>
              </a:pathLst>
            </a:custGeom>
            <a:ln>
              <a:noFill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Freeform 36"/>
            <p:cNvSpPr/>
            <p:nvPr/>
          </p:nvSpPr>
          <p:spPr>
            <a:xfrm>
              <a:off x="9608250" y="3038047"/>
              <a:ext cx="817597" cy="731520"/>
            </a:xfrm>
            <a:custGeom>
              <a:avLst/>
              <a:gdLst>
                <a:gd name="connsiteX0" fmla="*/ 731520 w 817597"/>
                <a:gd name="connsiteY0" fmla="*/ 0 h 731520"/>
                <a:gd name="connsiteX1" fmla="*/ 817597 w 817597"/>
                <a:gd name="connsiteY1" fmla="*/ 0 h 731520"/>
                <a:gd name="connsiteX2" fmla="*/ 806240 w 817597"/>
                <a:gd name="connsiteY2" fmla="*/ 74415 h 731520"/>
                <a:gd name="connsiteX3" fmla="*/ 0 w 817597"/>
                <a:gd name="connsiteY3" fmla="*/ 731520 h 731520"/>
                <a:gd name="connsiteX4" fmla="*/ 731520 w 817597"/>
                <a:gd name="connsiteY4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597" h="731520">
                  <a:moveTo>
                    <a:pt x="731520" y="0"/>
                  </a:moveTo>
                  <a:lnTo>
                    <a:pt x="817597" y="0"/>
                  </a:lnTo>
                  <a:lnTo>
                    <a:pt x="806240" y="74415"/>
                  </a:lnTo>
                  <a:cubicBezTo>
                    <a:pt x="729502" y="449424"/>
                    <a:pt x="397694" y="731520"/>
                    <a:pt x="0" y="731520"/>
                  </a:cubicBezTo>
                  <a:cubicBezTo>
                    <a:pt x="404007" y="731520"/>
                    <a:pt x="731520" y="404007"/>
                    <a:pt x="731520" y="0"/>
                  </a:cubicBezTo>
                  <a:close/>
                </a:path>
              </a:pathLst>
            </a:custGeom>
            <a:gradFill>
              <a:gsLst>
                <a:gs pos="0">
                  <a:srgbClr val="A42700"/>
                </a:gs>
                <a:gs pos="74000">
                  <a:srgbClr val="A42700"/>
                </a:gs>
                <a:gs pos="83000">
                  <a:srgbClr val="A42700"/>
                </a:gs>
                <a:gs pos="100000">
                  <a:srgbClr val="A4270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Freeform 37"/>
            <p:cNvSpPr/>
            <p:nvPr/>
          </p:nvSpPr>
          <p:spPr>
            <a:xfrm>
              <a:off x="1816719" y="3758421"/>
              <a:ext cx="110571" cy="11146"/>
            </a:xfrm>
            <a:custGeom>
              <a:avLst/>
              <a:gdLst>
                <a:gd name="connsiteX0" fmla="*/ 0 w 110571"/>
                <a:gd name="connsiteY0" fmla="*/ 0 h 11146"/>
                <a:gd name="connsiteX1" fmla="*/ 110571 w 110571"/>
                <a:gd name="connsiteY1" fmla="*/ 11146 h 11146"/>
                <a:gd name="connsiteX2" fmla="*/ 1 w 110571"/>
                <a:gd name="connsiteY2" fmla="*/ 0 h 11146"/>
                <a:gd name="connsiteX3" fmla="*/ 0 w 110571"/>
                <a:gd name="connsiteY3" fmla="*/ 0 h 1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571" h="11146">
                  <a:moveTo>
                    <a:pt x="0" y="0"/>
                  </a:moveTo>
                  <a:lnTo>
                    <a:pt x="110571" y="11146"/>
                  </a:lnTo>
                  <a:cubicBezTo>
                    <a:pt x="72695" y="11146"/>
                    <a:pt x="35716" y="7308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Freeform 38"/>
            <p:cNvSpPr/>
            <p:nvPr/>
          </p:nvSpPr>
          <p:spPr>
            <a:xfrm>
              <a:off x="9608250" y="3758421"/>
              <a:ext cx="110572" cy="11146"/>
            </a:xfrm>
            <a:custGeom>
              <a:avLst/>
              <a:gdLst>
                <a:gd name="connsiteX0" fmla="*/ 110572 w 110572"/>
                <a:gd name="connsiteY0" fmla="*/ 0 h 11146"/>
                <a:gd name="connsiteX1" fmla="*/ 110570 w 110572"/>
                <a:gd name="connsiteY1" fmla="*/ 0 h 11146"/>
                <a:gd name="connsiteX2" fmla="*/ 0 w 110572"/>
                <a:gd name="connsiteY2" fmla="*/ 11146 h 11146"/>
                <a:gd name="connsiteX3" fmla="*/ 110572 w 110572"/>
                <a:gd name="connsiteY3" fmla="*/ 0 h 1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572" h="11146">
                  <a:moveTo>
                    <a:pt x="110572" y="0"/>
                  </a:moveTo>
                  <a:lnTo>
                    <a:pt x="110570" y="0"/>
                  </a:lnTo>
                  <a:cubicBezTo>
                    <a:pt x="74855" y="7308"/>
                    <a:pt x="37876" y="11146"/>
                    <a:pt x="0" y="11146"/>
                  </a:cubicBezTo>
                  <a:lnTo>
                    <a:pt x="110572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Freeform 39"/>
            <p:cNvSpPr/>
            <p:nvPr/>
          </p:nvSpPr>
          <p:spPr>
            <a:xfrm>
              <a:off x="1003679" y="3038047"/>
              <a:ext cx="923611" cy="731520"/>
            </a:xfrm>
            <a:custGeom>
              <a:avLst/>
              <a:gdLst>
                <a:gd name="connsiteX0" fmla="*/ 0 w 923611"/>
                <a:gd name="connsiteY0" fmla="*/ 0 h 731520"/>
                <a:gd name="connsiteX1" fmla="*/ 106014 w 923611"/>
                <a:gd name="connsiteY1" fmla="*/ 0 h 731520"/>
                <a:gd name="connsiteX2" fmla="*/ 117371 w 923611"/>
                <a:gd name="connsiteY2" fmla="*/ 74415 h 731520"/>
                <a:gd name="connsiteX3" fmla="*/ 923611 w 923611"/>
                <a:gd name="connsiteY3" fmla="*/ 731520 h 731520"/>
                <a:gd name="connsiteX4" fmla="*/ 856017 w 923611"/>
                <a:gd name="connsiteY4" fmla="*/ 731520 h 731520"/>
                <a:gd name="connsiteX5" fmla="*/ 5900 w 923611"/>
                <a:gd name="connsiteY5" fmla="*/ 38654 h 731520"/>
                <a:gd name="connsiteX6" fmla="*/ 0 w 923611"/>
                <a:gd name="connsiteY6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3611" h="731520">
                  <a:moveTo>
                    <a:pt x="0" y="0"/>
                  </a:moveTo>
                  <a:lnTo>
                    <a:pt x="106014" y="0"/>
                  </a:lnTo>
                  <a:lnTo>
                    <a:pt x="117371" y="74415"/>
                  </a:lnTo>
                  <a:cubicBezTo>
                    <a:pt x="194109" y="449424"/>
                    <a:pt x="525917" y="731520"/>
                    <a:pt x="923611" y="731520"/>
                  </a:cubicBezTo>
                  <a:lnTo>
                    <a:pt x="856017" y="731520"/>
                  </a:lnTo>
                  <a:cubicBezTo>
                    <a:pt x="436679" y="731520"/>
                    <a:pt x="86814" y="434072"/>
                    <a:pt x="5900" y="38654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chemeClr val="accent6">
                    <a:lumMod val="50000"/>
                  </a:schemeClr>
                </a:gs>
                <a:gs pos="74000">
                  <a:schemeClr val="accent6">
                    <a:lumMod val="50000"/>
                  </a:schemeClr>
                </a:gs>
                <a:gs pos="83000">
                  <a:schemeClr val="accent6">
                    <a:lumMod val="50000"/>
                  </a:schemeClr>
                </a:gs>
                <a:gs pos="100000">
                  <a:schemeClr val="accent6">
                    <a:lumMod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Freeform 40"/>
            <p:cNvSpPr/>
            <p:nvPr/>
          </p:nvSpPr>
          <p:spPr>
            <a:xfrm>
              <a:off x="1195770" y="3038047"/>
              <a:ext cx="731520" cy="731520"/>
            </a:xfrm>
            <a:custGeom>
              <a:avLst/>
              <a:gdLst>
                <a:gd name="connsiteX0" fmla="*/ 0 w 731520"/>
                <a:gd name="connsiteY0" fmla="*/ 0 h 731520"/>
                <a:gd name="connsiteX1" fmla="*/ 100658 w 731520"/>
                <a:gd name="connsiteY1" fmla="*/ 0 h 731520"/>
                <a:gd name="connsiteX2" fmla="*/ 91440 w 731520"/>
                <a:gd name="connsiteY2" fmla="*/ 91440 h 731520"/>
                <a:gd name="connsiteX3" fmla="*/ 602522 w 731520"/>
                <a:gd name="connsiteY3" fmla="*/ 718516 h 731520"/>
                <a:gd name="connsiteX4" fmla="*/ 620949 w 731520"/>
                <a:gd name="connsiteY4" fmla="*/ 720374 h 731520"/>
                <a:gd name="connsiteX5" fmla="*/ 620950 w 731520"/>
                <a:gd name="connsiteY5" fmla="*/ 720374 h 731520"/>
                <a:gd name="connsiteX6" fmla="*/ 731520 w 731520"/>
                <a:gd name="connsiteY6" fmla="*/ 731520 h 731520"/>
                <a:gd name="connsiteX7" fmla="*/ 0 w 731520"/>
                <a:gd name="connsiteY7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0" h="731520">
                  <a:moveTo>
                    <a:pt x="0" y="0"/>
                  </a:moveTo>
                  <a:lnTo>
                    <a:pt x="100658" y="0"/>
                  </a:lnTo>
                  <a:lnTo>
                    <a:pt x="91440" y="91440"/>
                  </a:lnTo>
                  <a:cubicBezTo>
                    <a:pt x="91440" y="400758"/>
                    <a:pt x="310848" y="658831"/>
                    <a:pt x="602522" y="718516"/>
                  </a:cubicBezTo>
                  <a:lnTo>
                    <a:pt x="620949" y="720374"/>
                  </a:lnTo>
                  <a:lnTo>
                    <a:pt x="620950" y="720374"/>
                  </a:lnTo>
                  <a:cubicBezTo>
                    <a:pt x="656665" y="727682"/>
                    <a:pt x="693644" y="731520"/>
                    <a:pt x="731520" y="731520"/>
                  </a:cubicBezTo>
                  <a:cubicBezTo>
                    <a:pt x="327513" y="731520"/>
                    <a:pt x="0" y="404007"/>
                    <a:pt x="0" y="0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Freeform 41"/>
            <p:cNvSpPr/>
            <p:nvPr/>
          </p:nvSpPr>
          <p:spPr>
            <a:xfrm>
              <a:off x="1378650" y="3038047"/>
              <a:ext cx="8778240" cy="731520"/>
            </a:xfrm>
            <a:custGeom>
              <a:avLst/>
              <a:gdLst>
                <a:gd name="connsiteX0" fmla="*/ 33593 w 8778240"/>
                <a:gd name="connsiteY0" fmla="*/ 0 h 731520"/>
                <a:gd name="connsiteX1" fmla="*/ 8744647 w 8778240"/>
                <a:gd name="connsiteY1" fmla="*/ 0 h 731520"/>
                <a:gd name="connsiteX2" fmla="*/ 8767094 w 8778240"/>
                <a:gd name="connsiteY2" fmla="*/ 72310 h 731520"/>
                <a:gd name="connsiteX3" fmla="*/ 8778240 w 8778240"/>
                <a:gd name="connsiteY3" fmla="*/ 182880 h 731520"/>
                <a:gd name="connsiteX4" fmla="*/ 8443156 w 8778240"/>
                <a:gd name="connsiteY4" fmla="*/ 688405 h 731520"/>
                <a:gd name="connsiteX5" fmla="*/ 8340172 w 8778240"/>
                <a:gd name="connsiteY5" fmla="*/ 720374 h 731520"/>
                <a:gd name="connsiteX6" fmla="*/ 8229600 w 8778240"/>
                <a:gd name="connsiteY6" fmla="*/ 731520 h 731520"/>
                <a:gd name="connsiteX7" fmla="*/ 548640 w 8778240"/>
                <a:gd name="connsiteY7" fmla="*/ 731520 h 731520"/>
                <a:gd name="connsiteX8" fmla="*/ 438069 w 8778240"/>
                <a:gd name="connsiteY8" fmla="*/ 720374 h 731520"/>
                <a:gd name="connsiteX9" fmla="*/ 335084 w 8778240"/>
                <a:gd name="connsiteY9" fmla="*/ 688405 h 731520"/>
                <a:gd name="connsiteX10" fmla="*/ 0 w 8778240"/>
                <a:gd name="connsiteY10" fmla="*/ 182880 h 731520"/>
                <a:gd name="connsiteX11" fmla="*/ 11146 w 8778240"/>
                <a:gd name="connsiteY11" fmla="*/ 72310 h 731520"/>
                <a:gd name="connsiteX12" fmla="*/ 33593 w 8778240"/>
                <a:gd name="connsiteY12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78240" h="731520">
                  <a:moveTo>
                    <a:pt x="33593" y="0"/>
                  </a:moveTo>
                  <a:lnTo>
                    <a:pt x="8744647" y="0"/>
                  </a:lnTo>
                  <a:lnTo>
                    <a:pt x="8767094" y="72310"/>
                  </a:lnTo>
                  <a:cubicBezTo>
                    <a:pt x="8774402" y="108025"/>
                    <a:pt x="8778240" y="145004"/>
                    <a:pt x="8778240" y="182880"/>
                  </a:cubicBezTo>
                  <a:cubicBezTo>
                    <a:pt x="8778240" y="410135"/>
                    <a:pt x="8640071" y="605117"/>
                    <a:pt x="8443156" y="688405"/>
                  </a:cubicBezTo>
                  <a:lnTo>
                    <a:pt x="8340172" y="720374"/>
                  </a:lnTo>
                  <a:lnTo>
                    <a:pt x="8229600" y="731520"/>
                  </a:lnTo>
                  <a:lnTo>
                    <a:pt x="548640" y="731520"/>
                  </a:lnTo>
                  <a:lnTo>
                    <a:pt x="438069" y="720374"/>
                  </a:lnTo>
                  <a:lnTo>
                    <a:pt x="335084" y="688405"/>
                  </a:lnTo>
                  <a:cubicBezTo>
                    <a:pt x="138169" y="605117"/>
                    <a:pt x="0" y="410135"/>
                    <a:pt x="0" y="182880"/>
                  </a:cubicBezTo>
                  <a:cubicBezTo>
                    <a:pt x="0" y="145004"/>
                    <a:pt x="3838" y="108025"/>
                    <a:pt x="11146" y="72310"/>
                  </a:cubicBezTo>
                  <a:lnTo>
                    <a:pt x="33593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Freeform 42"/>
            <p:cNvSpPr/>
            <p:nvPr/>
          </p:nvSpPr>
          <p:spPr>
            <a:xfrm>
              <a:off x="9608250" y="3038047"/>
              <a:ext cx="731520" cy="731520"/>
            </a:xfrm>
            <a:custGeom>
              <a:avLst/>
              <a:gdLst>
                <a:gd name="connsiteX0" fmla="*/ 630862 w 731520"/>
                <a:gd name="connsiteY0" fmla="*/ 0 h 731520"/>
                <a:gd name="connsiteX1" fmla="*/ 731520 w 731520"/>
                <a:gd name="connsiteY1" fmla="*/ 0 h 731520"/>
                <a:gd name="connsiteX2" fmla="*/ 0 w 731520"/>
                <a:gd name="connsiteY2" fmla="*/ 731520 h 731520"/>
                <a:gd name="connsiteX3" fmla="*/ 110570 w 731520"/>
                <a:gd name="connsiteY3" fmla="*/ 720374 h 731520"/>
                <a:gd name="connsiteX4" fmla="*/ 110572 w 731520"/>
                <a:gd name="connsiteY4" fmla="*/ 720374 h 731520"/>
                <a:gd name="connsiteX5" fmla="*/ 128998 w 731520"/>
                <a:gd name="connsiteY5" fmla="*/ 718516 h 731520"/>
                <a:gd name="connsiteX6" fmla="*/ 640080 w 731520"/>
                <a:gd name="connsiteY6" fmla="*/ 91440 h 731520"/>
                <a:gd name="connsiteX7" fmla="*/ 630862 w 731520"/>
                <a:gd name="connsiteY7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0" h="731520">
                  <a:moveTo>
                    <a:pt x="630862" y="0"/>
                  </a:moveTo>
                  <a:lnTo>
                    <a:pt x="731520" y="0"/>
                  </a:lnTo>
                  <a:cubicBezTo>
                    <a:pt x="731520" y="404007"/>
                    <a:pt x="404007" y="731520"/>
                    <a:pt x="0" y="731520"/>
                  </a:cubicBezTo>
                  <a:cubicBezTo>
                    <a:pt x="37876" y="731520"/>
                    <a:pt x="74855" y="727682"/>
                    <a:pt x="110570" y="720374"/>
                  </a:cubicBezTo>
                  <a:lnTo>
                    <a:pt x="110572" y="720374"/>
                  </a:lnTo>
                  <a:lnTo>
                    <a:pt x="128998" y="718516"/>
                  </a:lnTo>
                  <a:cubicBezTo>
                    <a:pt x="420672" y="658831"/>
                    <a:pt x="640080" y="400758"/>
                    <a:pt x="640080" y="91440"/>
                  </a:cubicBezTo>
                  <a:lnTo>
                    <a:pt x="630862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Freeform 43"/>
            <p:cNvSpPr/>
            <p:nvPr/>
          </p:nvSpPr>
          <p:spPr>
            <a:xfrm>
              <a:off x="9608250" y="3038047"/>
              <a:ext cx="923612" cy="731520"/>
            </a:xfrm>
            <a:custGeom>
              <a:avLst/>
              <a:gdLst>
                <a:gd name="connsiteX0" fmla="*/ 817597 w 923612"/>
                <a:gd name="connsiteY0" fmla="*/ 0 h 731520"/>
                <a:gd name="connsiteX1" fmla="*/ 923612 w 923612"/>
                <a:gd name="connsiteY1" fmla="*/ 0 h 731520"/>
                <a:gd name="connsiteX2" fmla="*/ 917712 w 923612"/>
                <a:gd name="connsiteY2" fmla="*/ 38654 h 731520"/>
                <a:gd name="connsiteX3" fmla="*/ 67595 w 923612"/>
                <a:gd name="connsiteY3" fmla="*/ 731520 h 731520"/>
                <a:gd name="connsiteX4" fmla="*/ 0 w 923612"/>
                <a:gd name="connsiteY4" fmla="*/ 731520 h 731520"/>
                <a:gd name="connsiteX5" fmla="*/ 806240 w 923612"/>
                <a:gd name="connsiteY5" fmla="*/ 74415 h 731520"/>
                <a:gd name="connsiteX6" fmla="*/ 817597 w 923612"/>
                <a:gd name="connsiteY6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3612" h="731520">
                  <a:moveTo>
                    <a:pt x="817597" y="0"/>
                  </a:moveTo>
                  <a:lnTo>
                    <a:pt x="923612" y="0"/>
                  </a:lnTo>
                  <a:lnTo>
                    <a:pt x="917712" y="38654"/>
                  </a:lnTo>
                  <a:cubicBezTo>
                    <a:pt x="836798" y="434072"/>
                    <a:pt x="486933" y="731520"/>
                    <a:pt x="67595" y="731520"/>
                  </a:cubicBezTo>
                  <a:lnTo>
                    <a:pt x="0" y="731520"/>
                  </a:lnTo>
                  <a:cubicBezTo>
                    <a:pt x="397694" y="731520"/>
                    <a:pt x="729502" y="449424"/>
                    <a:pt x="806240" y="74415"/>
                  </a:cubicBezTo>
                  <a:lnTo>
                    <a:pt x="817597" y="0"/>
                  </a:lnTo>
                  <a:close/>
                </a:path>
              </a:pathLst>
            </a:custGeom>
            <a:gradFill>
              <a:gsLst>
                <a:gs pos="0">
                  <a:schemeClr val="accent6">
                    <a:lumMod val="50000"/>
                  </a:schemeClr>
                </a:gs>
                <a:gs pos="74000">
                  <a:schemeClr val="accent6">
                    <a:lumMod val="50000"/>
                  </a:schemeClr>
                </a:gs>
                <a:gs pos="83000">
                  <a:schemeClr val="accent6">
                    <a:lumMod val="50000"/>
                  </a:schemeClr>
                </a:gs>
                <a:gs pos="100000">
                  <a:schemeClr val="accent6">
                    <a:lumMod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5" name="Rectangle 44"/>
          <p:cNvSpPr/>
          <p:nvPr/>
        </p:nvSpPr>
        <p:spPr>
          <a:xfrm>
            <a:off x="962588" y="16584"/>
            <a:ext cx="10515600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শিক্ষক</a:t>
            </a:r>
            <a:r>
              <a:rPr lang="en-US" sz="5400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5400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পরিচিতি</a:t>
            </a:r>
            <a:endParaRPr lang="en-US" sz="5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6" name="Picture 45">
            <a:extLst>
              <a:ext uri="{FF2B5EF4-FFF2-40B4-BE49-F238E27FC236}">
                <a16:creationId xmlns="" xmlns:a16="http://schemas.microsoft.com/office/drawing/2014/main" id="{2185EA5A-6622-40BB-9198-F266B645F01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3326" y="1539527"/>
            <a:ext cx="2225348" cy="2248014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686080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8" presetClass="entr" presetSubtype="3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12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16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00"/>
                            </p:stCondLst>
                            <p:childTnLst>
                              <p:par>
                                <p:cTn id="18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20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86CC73F8-A7D9-4BE1-B253-6A39F9FEF47D}"/>
              </a:ext>
            </a:extLst>
          </p:cNvPr>
          <p:cNvGrpSpPr/>
          <p:nvPr/>
        </p:nvGrpSpPr>
        <p:grpSpPr>
          <a:xfrm>
            <a:off x="2339550" y="2335577"/>
            <a:ext cx="7512900" cy="2683492"/>
            <a:chOff x="3160500" y="4416136"/>
            <a:chExt cx="3048141" cy="633562"/>
          </a:xfrm>
        </p:grpSpPr>
        <p:sp>
          <p:nvSpPr>
            <p:cNvPr id="3" name="TextBox 2">
              <a:extLst>
                <a:ext uri="{FF2B5EF4-FFF2-40B4-BE49-F238E27FC236}">
                  <a16:creationId xmlns="" xmlns:a16="http://schemas.microsoft.com/office/drawing/2014/main" id="{3FC9AEB9-77FB-4476-BF35-E83FB159D213}"/>
                </a:ext>
              </a:extLst>
            </p:cNvPr>
            <p:cNvSpPr txBox="1"/>
            <p:nvPr/>
          </p:nvSpPr>
          <p:spPr>
            <a:xfrm>
              <a:off x="3271271" y="4416136"/>
              <a:ext cx="2826600" cy="2046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400" dirty="0" err="1" smtClean="0">
                  <a:solidFill>
                    <a:srgbClr val="02858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বিষয়ঃ</a:t>
              </a:r>
              <a:r>
                <a:rPr lang="en-US" sz="4400" dirty="0" smtClean="0">
                  <a:solidFill>
                    <a:srgbClr val="02858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 </a:t>
              </a:r>
              <a:r>
                <a:rPr lang="en-US" sz="4400" dirty="0" err="1" smtClean="0">
                  <a:solidFill>
                    <a:srgbClr val="02858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ব্যবসায়</a:t>
              </a:r>
              <a:r>
                <a:rPr lang="en-US" sz="4400" dirty="0" smtClean="0">
                  <a:solidFill>
                    <a:srgbClr val="02858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 </a:t>
              </a:r>
              <a:r>
                <a:rPr lang="en-US" sz="4400" dirty="0" err="1" smtClean="0">
                  <a:solidFill>
                    <a:srgbClr val="02858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সংগঠন</a:t>
              </a:r>
              <a:r>
                <a:rPr lang="en-US" sz="4400" dirty="0" smtClean="0">
                  <a:solidFill>
                    <a:srgbClr val="02858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 ও </a:t>
              </a:r>
              <a:r>
                <a:rPr lang="en-US" sz="4400" dirty="0" err="1" smtClean="0">
                  <a:solidFill>
                    <a:srgbClr val="028588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ব্যবস্থাপনা</a:t>
              </a:r>
              <a:endParaRPr lang="en-US" sz="4400" dirty="0">
                <a:solidFill>
                  <a:srgbClr val="02858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="" xmlns:a16="http://schemas.microsoft.com/office/drawing/2014/main" id="{72E264A1-9E4D-4A52-B90C-374009D93DF9}"/>
                </a:ext>
              </a:extLst>
            </p:cNvPr>
            <p:cNvSpPr txBox="1"/>
            <p:nvPr/>
          </p:nvSpPr>
          <p:spPr>
            <a:xfrm>
              <a:off x="3362185" y="4585082"/>
              <a:ext cx="2644771" cy="1671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000" dirty="0" smtClean="0">
                  <a:solidFill>
                    <a:schemeClr val="accent6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1ম </a:t>
              </a:r>
              <a:r>
                <a:rPr lang="en-US" sz="4000" dirty="0" err="1" smtClean="0">
                  <a:solidFill>
                    <a:schemeClr val="accent6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পত্র</a:t>
              </a:r>
              <a:r>
                <a:rPr lang="en-US" sz="4000" dirty="0" smtClean="0">
                  <a:solidFill>
                    <a:schemeClr val="accent6">
                      <a:lumMod val="5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 </a:t>
              </a:r>
              <a:r>
                <a:rPr lang="en-US" sz="4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অধ্যায়ঃ</a:t>
              </a:r>
              <a:r>
                <a:rPr lang="en-US" sz="4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 </a:t>
              </a:r>
              <a:r>
                <a:rPr lang="en-US" sz="4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সপ্তম</a:t>
              </a:r>
              <a:endParaRPr lang="en-US" sz="4000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="" xmlns:a16="http://schemas.microsoft.com/office/drawing/2014/main" id="{6684DD90-134A-4D80-9A12-6DA4DF9CADFA}"/>
                </a:ext>
              </a:extLst>
            </p:cNvPr>
            <p:cNvSpPr txBox="1"/>
            <p:nvPr/>
          </p:nvSpPr>
          <p:spPr>
            <a:xfrm>
              <a:off x="3160500" y="4868036"/>
              <a:ext cx="3048141" cy="1816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400" b="1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অধ্যায়</a:t>
              </a:r>
              <a:r>
                <a:rPr lang="en-US" sz="4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 </a:t>
              </a:r>
              <a:r>
                <a:rPr lang="en-US" sz="4400" b="1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শিরোনামঃ</a:t>
              </a:r>
              <a:r>
                <a:rPr lang="en-US" sz="4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 </a:t>
              </a:r>
              <a:r>
                <a:rPr lang="en-US" sz="4400" b="1" dirty="0" err="1" smtClean="0">
                  <a:solidFill>
                    <a:schemeClr val="tx2">
                      <a:lumMod val="7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রাষ্ট্রীয়</a:t>
              </a:r>
              <a:r>
                <a:rPr lang="en-US" sz="4400" b="1" dirty="0" smtClean="0">
                  <a:solidFill>
                    <a:schemeClr val="tx2">
                      <a:lumMod val="7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 </a:t>
              </a:r>
              <a:r>
                <a:rPr lang="en-US" sz="4400" b="1" dirty="0" err="1" smtClean="0">
                  <a:solidFill>
                    <a:schemeClr val="tx2">
                      <a:lumMod val="7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NikoshBAN" panose="02000000000000000000" pitchFamily="2" charset="0"/>
                  <a:cs typeface="NikoshBAN" panose="02000000000000000000" pitchFamily="2" charset="0"/>
                </a:rPr>
                <a:t>ব্যবসায়</a:t>
              </a:r>
              <a:endParaRPr lang="en-US" sz="4400" b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 panose="020B0602020104020603" pitchFamily="34" charset="0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72E264A1-9E4D-4A52-B90C-374009D93DF9}"/>
              </a:ext>
            </a:extLst>
          </p:cNvPr>
          <p:cNvSpPr txBox="1"/>
          <p:nvPr/>
        </p:nvSpPr>
        <p:spPr>
          <a:xfrm>
            <a:off x="2836653" y="3695115"/>
            <a:ext cx="65186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err="1" smtClean="0">
                <a:solidFill>
                  <a:schemeClr val="accent6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শ্রেণিঃ</a:t>
            </a:r>
            <a:r>
              <a:rPr lang="en-US" sz="4000" dirty="0" smtClean="0">
                <a:solidFill>
                  <a:schemeClr val="accent6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4000" dirty="0" err="1" smtClean="0">
                <a:solidFill>
                  <a:schemeClr val="accent6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একাদশ</a:t>
            </a:r>
            <a:endParaRPr lang="en-US" sz="4000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 flipV="1">
            <a:off x="0" y="0"/>
            <a:ext cx="12192000" cy="731520"/>
            <a:chOff x="1003679" y="3038047"/>
            <a:chExt cx="9528183" cy="731520"/>
          </a:xfrm>
        </p:grpSpPr>
        <p:sp>
          <p:nvSpPr>
            <p:cNvPr id="9" name="Freeform 8"/>
            <p:cNvSpPr/>
            <p:nvPr/>
          </p:nvSpPr>
          <p:spPr>
            <a:xfrm>
              <a:off x="1109693" y="3038047"/>
              <a:ext cx="817597" cy="731520"/>
            </a:xfrm>
            <a:custGeom>
              <a:avLst/>
              <a:gdLst>
                <a:gd name="connsiteX0" fmla="*/ 0 w 817597"/>
                <a:gd name="connsiteY0" fmla="*/ 0 h 731520"/>
                <a:gd name="connsiteX1" fmla="*/ 86077 w 817597"/>
                <a:gd name="connsiteY1" fmla="*/ 0 h 731520"/>
                <a:gd name="connsiteX2" fmla="*/ 817597 w 817597"/>
                <a:gd name="connsiteY2" fmla="*/ 731520 h 731520"/>
                <a:gd name="connsiteX3" fmla="*/ 11357 w 817597"/>
                <a:gd name="connsiteY3" fmla="*/ 74415 h 731520"/>
                <a:gd name="connsiteX4" fmla="*/ 0 w 817597"/>
                <a:gd name="connsiteY4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597" h="731520">
                  <a:moveTo>
                    <a:pt x="0" y="0"/>
                  </a:moveTo>
                  <a:lnTo>
                    <a:pt x="86077" y="0"/>
                  </a:lnTo>
                  <a:cubicBezTo>
                    <a:pt x="86077" y="404007"/>
                    <a:pt x="413590" y="731520"/>
                    <a:pt x="817597" y="731520"/>
                  </a:cubicBezTo>
                  <a:cubicBezTo>
                    <a:pt x="419903" y="731520"/>
                    <a:pt x="88095" y="449424"/>
                    <a:pt x="11357" y="74415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A42700"/>
                </a:gs>
                <a:gs pos="74000">
                  <a:srgbClr val="A42700"/>
                </a:gs>
                <a:gs pos="83000">
                  <a:srgbClr val="A42700"/>
                </a:gs>
                <a:gs pos="100000">
                  <a:srgbClr val="A4270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Freeform 9"/>
            <p:cNvSpPr/>
            <p:nvPr/>
          </p:nvSpPr>
          <p:spPr>
            <a:xfrm>
              <a:off x="1287210" y="3038047"/>
              <a:ext cx="529509" cy="720374"/>
            </a:xfrm>
            <a:custGeom>
              <a:avLst/>
              <a:gdLst>
                <a:gd name="connsiteX0" fmla="*/ 9218 w 529509"/>
                <a:gd name="connsiteY0" fmla="*/ 0 h 720374"/>
                <a:gd name="connsiteX1" fmla="*/ 125033 w 529509"/>
                <a:gd name="connsiteY1" fmla="*/ 0 h 720374"/>
                <a:gd name="connsiteX2" fmla="*/ 102586 w 529509"/>
                <a:gd name="connsiteY2" fmla="*/ 72310 h 720374"/>
                <a:gd name="connsiteX3" fmla="*/ 91440 w 529509"/>
                <a:gd name="connsiteY3" fmla="*/ 182880 h 720374"/>
                <a:gd name="connsiteX4" fmla="*/ 426524 w 529509"/>
                <a:gd name="connsiteY4" fmla="*/ 688405 h 720374"/>
                <a:gd name="connsiteX5" fmla="*/ 529509 w 529509"/>
                <a:gd name="connsiteY5" fmla="*/ 720374 h 720374"/>
                <a:gd name="connsiteX6" fmla="*/ 511082 w 529509"/>
                <a:gd name="connsiteY6" fmla="*/ 718516 h 720374"/>
                <a:gd name="connsiteX7" fmla="*/ 0 w 529509"/>
                <a:gd name="connsiteY7" fmla="*/ 91440 h 720374"/>
                <a:gd name="connsiteX8" fmla="*/ 9218 w 529509"/>
                <a:gd name="connsiteY8" fmla="*/ 0 h 720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9509" h="720374">
                  <a:moveTo>
                    <a:pt x="9218" y="0"/>
                  </a:moveTo>
                  <a:lnTo>
                    <a:pt x="125033" y="0"/>
                  </a:lnTo>
                  <a:lnTo>
                    <a:pt x="102586" y="72310"/>
                  </a:lnTo>
                  <a:cubicBezTo>
                    <a:pt x="95278" y="108025"/>
                    <a:pt x="91440" y="145004"/>
                    <a:pt x="91440" y="182880"/>
                  </a:cubicBezTo>
                  <a:cubicBezTo>
                    <a:pt x="91440" y="410135"/>
                    <a:pt x="229609" y="605117"/>
                    <a:pt x="426524" y="688405"/>
                  </a:cubicBezTo>
                  <a:lnTo>
                    <a:pt x="529509" y="720374"/>
                  </a:lnTo>
                  <a:lnTo>
                    <a:pt x="511082" y="718516"/>
                  </a:lnTo>
                  <a:cubicBezTo>
                    <a:pt x="219408" y="658831"/>
                    <a:pt x="0" y="400758"/>
                    <a:pt x="0" y="91440"/>
                  </a:cubicBezTo>
                  <a:lnTo>
                    <a:pt x="9218" y="0"/>
                  </a:lnTo>
                  <a:close/>
                </a:path>
              </a:pathLst>
            </a:custGeom>
            <a:ln>
              <a:noFill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Freeform 10"/>
            <p:cNvSpPr/>
            <p:nvPr/>
          </p:nvSpPr>
          <p:spPr>
            <a:xfrm>
              <a:off x="9718822" y="3038047"/>
              <a:ext cx="529508" cy="720374"/>
            </a:xfrm>
            <a:custGeom>
              <a:avLst/>
              <a:gdLst>
                <a:gd name="connsiteX0" fmla="*/ 404475 w 529508"/>
                <a:gd name="connsiteY0" fmla="*/ 0 h 720374"/>
                <a:gd name="connsiteX1" fmla="*/ 520290 w 529508"/>
                <a:gd name="connsiteY1" fmla="*/ 0 h 720374"/>
                <a:gd name="connsiteX2" fmla="*/ 529508 w 529508"/>
                <a:gd name="connsiteY2" fmla="*/ 91440 h 720374"/>
                <a:gd name="connsiteX3" fmla="*/ 18426 w 529508"/>
                <a:gd name="connsiteY3" fmla="*/ 718516 h 720374"/>
                <a:gd name="connsiteX4" fmla="*/ 0 w 529508"/>
                <a:gd name="connsiteY4" fmla="*/ 720374 h 720374"/>
                <a:gd name="connsiteX5" fmla="*/ 102984 w 529508"/>
                <a:gd name="connsiteY5" fmla="*/ 688405 h 720374"/>
                <a:gd name="connsiteX6" fmla="*/ 438068 w 529508"/>
                <a:gd name="connsiteY6" fmla="*/ 182880 h 720374"/>
                <a:gd name="connsiteX7" fmla="*/ 426922 w 529508"/>
                <a:gd name="connsiteY7" fmla="*/ 72310 h 720374"/>
                <a:gd name="connsiteX8" fmla="*/ 404475 w 529508"/>
                <a:gd name="connsiteY8" fmla="*/ 0 h 720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9508" h="720374">
                  <a:moveTo>
                    <a:pt x="404475" y="0"/>
                  </a:moveTo>
                  <a:lnTo>
                    <a:pt x="520290" y="0"/>
                  </a:lnTo>
                  <a:lnTo>
                    <a:pt x="529508" y="91440"/>
                  </a:lnTo>
                  <a:cubicBezTo>
                    <a:pt x="529508" y="400758"/>
                    <a:pt x="310100" y="658831"/>
                    <a:pt x="18426" y="718516"/>
                  </a:cubicBezTo>
                  <a:lnTo>
                    <a:pt x="0" y="720374"/>
                  </a:lnTo>
                  <a:lnTo>
                    <a:pt x="102984" y="688405"/>
                  </a:lnTo>
                  <a:cubicBezTo>
                    <a:pt x="299899" y="605117"/>
                    <a:pt x="438068" y="410135"/>
                    <a:pt x="438068" y="182880"/>
                  </a:cubicBezTo>
                  <a:cubicBezTo>
                    <a:pt x="438068" y="145004"/>
                    <a:pt x="434230" y="108025"/>
                    <a:pt x="426922" y="72310"/>
                  </a:cubicBezTo>
                  <a:lnTo>
                    <a:pt x="404475" y="0"/>
                  </a:lnTo>
                  <a:close/>
                </a:path>
              </a:pathLst>
            </a:custGeom>
            <a:ln>
              <a:noFill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Freeform 11"/>
            <p:cNvSpPr/>
            <p:nvPr/>
          </p:nvSpPr>
          <p:spPr>
            <a:xfrm>
              <a:off x="9608250" y="3038047"/>
              <a:ext cx="817597" cy="731520"/>
            </a:xfrm>
            <a:custGeom>
              <a:avLst/>
              <a:gdLst>
                <a:gd name="connsiteX0" fmla="*/ 731520 w 817597"/>
                <a:gd name="connsiteY0" fmla="*/ 0 h 731520"/>
                <a:gd name="connsiteX1" fmla="*/ 817597 w 817597"/>
                <a:gd name="connsiteY1" fmla="*/ 0 h 731520"/>
                <a:gd name="connsiteX2" fmla="*/ 806240 w 817597"/>
                <a:gd name="connsiteY2" fmla="*/ 74415 h 731520"/>
                <a:gd name="connsiteX3" fmla="*/ 0 w 817597"/>
                <a:gd name="connsiteY3" fmla="*/ 731520 h 731520"/>
                <a:gd name="connsiteX4" fmla="*/ 731520 w 817597"/>
                <a:gd name="connsiteY4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597" h="731520">
                  <a:moveTo>
                    <a:pt x="731520" y="0"/>
                  </a:moveTo>
                  <a:lnTo>
                    <a:pt x="817597" y="0"/>
                  </a:lnTo>
                  <a:lnTo>
                    <a:pt x="806240" y="74415"/>
                  </a:lnTo>
                  <a:cubicBezTo>
                    <a:pt x="729502" y="449424"/>
                    <a:pt x="397694" y="731520"/>
                    <a:pt x="0" y="731520"/>
                  </a:cubicBezTo>
                  <a:cubicBezTo>
                    <a:pt x="404007" y="731520"/>
                    <a:pt x="731520" y="404007"/>
                    <a:pt x="731520" y="0"/>
                  </a:cubicBezTo>
                  <a:close/>
                </a:path>
              </a:pathLst>
            </a:custGeom>
            <a:gradFill>
              <a:gsLst>
                <a:gs pos="0">
                  <a:srgbClr val="A42700"/>
                </a:gs>
                <a:gs pos="74000">
                  <a:srgbClr val="A42700"/>
                </a:gs>
                <a:gs pos="83000">
                  <a:srgbClr val="A42700"/>
                </a:gs>
                <a:gs pos="100000">
                  <a:srgbClr val="A4270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Freeform 12"/>
            <p:cNvSpPr/>
            <p:nvPr/>
          </p:nvSpPr>
          <p:spPr>
            <a:xfrm>
              <a:off x="1816719" y="3758421"/>
              <a:ext cx="110571" cy="11146"/>
            </a:xfrm>
            <a:custGeom>
              <a:avLst/>
              <a:gdLst>
                <a:gd name="connsiteX0" fmla="*/ 0 w 110571"/>
                <a:gd name="connsiteY0" fmla="*/ 0 h 11146"/>
                <a:gd name="connsiteX1" fmla="*/ 110571 w 110571"/>
                <a:gd name="connsiteY1" fmla="*/ 11146 h 11146"/>
                <a:gd name="connsiteX2" fmla="*/ 1 w 110571"/>
                <a:gd name="connsiteY2" fmla="*/ 0 h 11146"/>
                <a:gd name="connsiteX3" fmla="*/ 0 w 110571"/>
                <a:gd name="connsiteY3" fmla="*/ 0 h 1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571" h="11146">
                  <a:moveTo>
                    <a:pt x="0" y="0"/>
                  </a:moveTo>
                  <a:lnTo>
                    <a:pt x="110571" y="11146"/>
                  </a:lnTo>
                  <a:cubicBezTo>
                    <a:pt x="72695" y="11146"/>
                    <a:pt x="35716" y="7308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Freeform 13"/>
            <p:cNvSpPr/>
            <p:nvPr/>
          </p:nvSpPr>
          <p:spPr>
            <a:xfrm>
              <a:off x="9608250" y="3758421"/>
              <a:ext cx="110572" cy="11146"/>
            </a:xfrm>
            <a:custGeom>
              <a:avLst/>
              <a:gdLst>
                <a:gd name="connsiteX0" fmla="*/ 110572 w 110572"/>
                <a:gd name="connsiteY0" fmla="*/ 0 h 11146"/>
                <a:gd name="connsiteX1" fmla="*/ 110570 w 110572"/>
                <a:gd name="connsiteY1" fmla="*/ 0 h 11146"/>
                <a:gd name="connsiteX2" fmla="*/ 0 w 110572"/>
                <a:gd name="connsiteY2" fmla="*/ 11146 h 11146"/>
                <a:gd name="connsiteX3" fmla="*/ 110572 w 110572"/>
                <a:gd name="connsiteY3" fmla="*/ 0 h 1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572" h="11146">
                  <a:moveTo>
                    <a:pt x="110572" y="0"/>
                  </a:moveTo>
                  <a:lnTo>
                    <a:pt x="110570" y="0"/>
                  </a:lnTo>
                  <a:cubicBezTo>
                    <a:pt x="74855" y="7308"/>
                    <a:pt x="37876" y="11146"/>
                    <a:pt x="0" y="11146"/>
                  </a:cubicBezTo>
                  <a:lnTo>
                    <a:pt x="110572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Freeform 14"/>
            <p:cNvSpPr/>
            <p:nvPr/>
          </p:nvSpPr>
          <p:spPr>
            <a:xfrm>
              <a:off x="1003679" y="3038047"/>
              <a:ext cx="923611" cy="731520"/>
            </a:xfrm>
            <a:custGeom>
              <a:avLst/>
              <a:gdLst>
                <a:gd name="connsiteX0" fmla="*/ 0 w 923611"/>
                <a:gd name="connsiteY0" fmla="*/ 0 h 731520"/>
                <a:gd name="connsiteX1" fmla="*/ 106014 w 923611"/>
                <a:gd name="connsiteY1" fmla="*/ 0 h 731520"/>
                <a:gd name="connsiteX2" fmla="*/ 117371 w 923611"/>
                <a:gd name="connsiteY2" fmla="*/ 74415 h 731520"/>
                <a:gd name="connsiteX3" fmla="*/ 923611 w 923611"/>
                <a:gd name="connsiteY3" fmla="*/ 731520 h 731520"/>
                <a:gd name="connsiteX4" fmla="*/ 856017 w 923611"/>
                <a:gd name="connsiteY4" fmla="*/ 731520 h 731520"/>
                <a:gd name="connsiteX5" fmla="*/ 5900 w 923611"/>
                <a:gd name="connsiteY5" fmla="*/ 38654 h 731520"/>
                <a:gd name="connsiteX6" fmla="*/ 0 w 923611"/>
                <a:gd name="connsiteY6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3611" h="731520">
                  <a:moveTo>
                    <a:pt x="0" y="0"/>
                  </a:moveTo>
                  <a:lnTo>
                    <a:pt x="106014" y="0"/>
                  </a:lnTo>
                  <a:lnTo>
                    <a:pt x="117371" y="74415"/>
                  </a:lnTo>
                  <a:cubicBezTo>
                    <a:pt x="194109" y="449424"/>
                    <a:pt x="525917" y="731520"/>
                    <a:pt x="923611" y="731520"/>
                  </a:cubicBezTo>
                  <a:lnTo>
                    <a:pt x="856017" y="731520"/>
                  </a:lnTo>
                  <a:cubicBezTo>
                    <a:pt x="436679" y="731520"/>
                    <a:pt x="86814" y="434072"/>
                    <a:pt x="5900" y="38654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chemeClr val="accent6">
                    <a:lumMod val="50000"/>
                  </a:schemeClr>
                </a:gs>
                <a:gs pos="74000">
                  <a:schemeClr val="accent6">
                    <a:lumMod val="50000"/>
                  </a:schemeClr>
                </a:gs>
                <a:gs pos="83000">
                  <a:schemeClr val="accent6">
                    <a:lumMod val="50000"/>
                  </a:schemeClr>
                </a:gs>
                <a:gs pos="100000">
                  <a:schemeClr val="accent6">
                    <a:lumMod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reeform 15"/>
            <p:cNvSpPr/>
            <p:nvPr/>
          </p:nvSpPr>
          <p:spPr>
            <a:xfrm>
              <a:off x="1195770" y="3038047"/>
              <a:ext cx="731520" cy="731520"/>
            </a:xfrm>
            <a:custGeom>
              <a:avLst/>
              <a:gdLst>
                <a:gd name="connsiteX0" fmla="*/ 0 w 731520"/>
                <a:gd name="connsiteY0" fmla="*/ 0 h 731520"/>
                <a:gd name="connsiteX1" fmla="*/ 100658 w 731520"/>
                <a:gd name="connsiteY1" fmla="*/ 0 h 731520"/>
                <a:gd name="connsiteX2" fmla="*/ 91440 w 731520"/>
                <a:gd name="connsiteY2" fmla="*/ 91440 h 731520"/>
                <a:gd name="connsiteX3" fmla="*/ 602522 w 731520"/>
                <a:gd name="connsiteY3" fmla="*/ 718516 h 731520"/>
                <a:gd name="connsiteX4" fmla="*/ 620949 w 731520"/>
                <a:gd name="connsiteY4" fmla="*/ 720374 h 731520"/>
                <a:gd name="connsiteX5" fmla="*/ 620950 w 731520"/>
                <a:gd name="connsiteY5" fmla="*/ 720374 h 731520"/>
                <a:gd name="connsiteX6" fmla="*/ 731520 w 731520"/>
                <a:gd name="connsiteY6" fmla="*/ 731520 h 731520"/>
                <a:gd name="connsiteX7" fmla="*/ 0 w 731520"/>
                <a:gd name="connsiteY7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0" h="731520">
                  <a:moveTo>
                    <a:pt x="0" y="0"/>
                  </a:moveTo>
                  <a:lnTo>
                    <a:pt x="100658" y="0"/>
                  </a:lnTo>
                  <a:lnTo>
                    <a:pt x="91440" y="91440"/>
                  </a:lnTo>
                  <a:cubicBezTo>
                    <a:pt x="91440" y="400758"/>
                    <a:pt x="310848" y="658831"/>
                    <a:pt x="602522" y="718516"/>
                  </a:cubicBezTo>
                  <a:lnTo>
                    <a:pt x="620949" y="720374"/>
                  </a:lnTo>
                  <a:lnTo>
                    <a:pt x="620950" y="720374"/>
                  </a:lnTo>
                  <a:cubicBezTo>
                    <a:pt x="656665" y="727682"/>
                    <a:pt x="693644" y="731520"/>
                    <a:pt x="731520" y="731520"/>
                  </a:cubicBezTo>
                  <a:cubicBezTo>
                    <a:pt x="327513" y="731520"/>
                    <a:pt x="0" y="404007"/>
                    <a:pt x="0" y="0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Freeform 16"/>
            <p:cNvSpPr/>
            <p:nvPr/>
          </p:nvSpPr>
          <p:spPr>
            <a:xfrm>
              <a:off x="1378650" y="3038047"/>
              <a:ext cx="8778240" cy="731520"/>
            </a:xfrm>
            <a:custGeom>
              <a:avLst/>
              <a:gdLst>
                <a:gd name="connsiteX0" fmla="*/ 33593 w 8778240"/>
                <a:gd name="connsiteY0" fmla="*/ 0 h 731520"/>
                <a:gd name="connsiteX1" fmla="*/ 8744647 w 8778240"/>
                <a:gd name="connsiteY1" fmla="*/ 0 h 731520"/>
                <a:gd name="connsiteX2" fmla="*/ 8767094 w 8778240"/>
                <a:gd name="connsiteY2" fmla="*/ 72310 h 731520"/>
                <a:gd name="connsiteX3" fmla="*/ 8778240 w 8778240"/>
                <a:gd name="connsiteY3" fmla="*/ 182880 h 731520"/>
                <a:gd name="connsiteX4" fmla="*/ 8443156 w 8778240"/>
                <a:gd name="connsiteY4" fmla="*/ 688405 h 731520"/>
                <a:gd name="connsiteX5" fmla="*/ 8340172 w 8778240"/>
                <a:gd name="connsiteY5" fmla="*/ 720374 h 731520"/>
                <a:gd name="connsiteX6" fmla="*/ 8229600 w 8778240"/>
                <a:gd name="connsiteY6" fmla="*/ 731520 h 731520"/>
                <a:gd name="connsiteX7" fmla="*/ 548640 w 8778240"/>
                <a:gd name="connsiteY7" fmla="*/ 731520 h 731520"/>
                <a:gd name="connsiteX8" fmla="*/ 438069 w 8778240"/>
                <a:gd name="connsiteY8" fmla="*/ 720374 h 731520"/>
                <a:gd name="connsiteX9" fmla="*/ 335084 w 8778240"/>
                <a:gd name="connsiteY9" fmla="*/ 688405 h 731520"/>
                <a:gd name="connsiteX10" fmla="*/ 0 w 8778240"/>
                <a:gd name="connsiteY10" fmla="*/ 182880 h 731520"/>
                <a:gd name="connsiteX11" fmla="*/ 11146 w 8778240"/>
                <a:gd name="connsiteY11" fmla="*/ 72310 h 731520"/>
                <a:gd name="connsiteX12" fmla="*/ 33593 w 8778240"/>
                <a:gd name="connsiteY12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78240" h="731520">
                  <a:moveTo>
                    <a:pt x="33593" y="0"/>
                  </a:moveTo>
                  <a:lnTo>
                    <a:pt x="8744647" y="0"/>
                  </a:lnTo>
                  <a:lnTo>
                    <a:pt x="8767094" y="72310"/>
                  </a:lnTo>
                  <a:cubicBezTo>
                    <a:pt x="8774402" y="108025"/>
                    <a:pt x="8778240" y="145004"/>
                    <a:pt x="8778240" y="182880"/>
                  </a:cubicBezTo>
                  <a:cubicBezTo>
                    <a:pt x="8778240" y="410135"/>
                    <a:pt x="8640071" y="605117"/>
                    <a:pt x="8443156" y="688405"/>
                  </a:cubicBezTo>
                  <a:lnTo>
                    <a:pt x="8340172" y="720374"/>
                  </a:lnTo>
                  <a:lnTo>
                    <a:pt x="8229600" y="731520"/>
                  </a:lnTo>
                  <a:lnTo>
                    <a:pt x="548640" y="731520"/>
                  </a:lnTo>
                  <a:lnTo>
                    <a:pt x="438069" y="720374"/>
                  </a:lnTo>
                  <a:lnTo>
                    <a:pt x="335084" y="688405"/>
                  </a:lnTo>
                  <a:cubicBezTo>
                    <a:pt x="138169" y="605117"/>
                    <a:pt x="0" y="410135"/>
                    <a:pt x="0" y="182880"/>
                  </a:cubicBezTo>
                  <a:cubicBezTo>
                    <a:pt x="0" y="145004"/>
                    <a:pt x="3838" y="108025"/>
                    <a:pt x="11146" y="72310"/>
                  </a:cubicBezTo>
                  <a:lnTo>
                    <a:pt x="33593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Freeform 17"/>
            <p:cNvSpPr/>
            <p:nvPr/>
          </p:nvSpPr>
          <p:spPr>
            <a:xfrm>
              <a:off x="9608250" y="3038047"/>
              <a:ext cx="731520" cy="731520"/>
            </a:xfrm>
            <a:custGeom>
              <a:avLst/>
              <a:gdLst>
                <a:gd name="connsiteX0" fmla="*/ 630862 w 731520"/>
                <a:gd name="connsiteY0" fmla="*/ 0 h 731520"/>
                <a:gd name="connsiteX1" fmla="*/ 731520 w 731520"/>
                <a:gd name="connsiteY1" fmla="*/ 0 h 731520"/>
                <a:gd name="connsiteX2" fmla="*/ 0 w 731520"/>
                <a:gd name="connsiteY2" fmla="*/ 731520 h 731520"/>
                <a:gd name="connsiteX3" fmla="*/ 110570 w 731520"/>
                <a:gd name="connsiteY3" fmla="*/ 720374 h 731520"/>
                <a:gd name="connsiteX4" fmla="*/ 110572 w 731520"/>
                <a:gd name="connsiteY4" fmla="*/ 720374 h 731520"/>
                <a:gd name="connsiteX5" fmla="*/ 128998 w 731520"/>
                <a:gd name="connsiteY5" fmla="*/ 718516 h 731520"/>
                <a:gd name="connsiteX6" fmla="*/ 640080 w 731520"/>
                <a:gd name="connsiteY6" fmla="*/ 91440 h 731520"/>
                <a:gd name="connsiteX7" fmla="*/ 630862 w 731520"/>
                <a:gd name="connsiteY7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0" h="731520">
                  <a:moveTo>
                    <a:pt x="630862" y="0"/>
                  </a:moveTo>
                  <a:lnTo>
                    <a:pt x="731520" y="0"/>
                  </a:lnTo>
                  <a:cubicBezTo>
                    <a:pt x="731520" y="404007"/>
                    <a:pt x="404007" y="731520"/>
                    <a:pt x="0" y="731520"/>
                  </a:cubicBezTo>
                  <a:cubicBezTo>
                    <a:pt x="37876" y="731520"/>
                    <a:pt x="74855" y="727682"/>
                    <a:pt x="110570" y="720374"/>
                  </a:cubicBezTo>
                  <a:lnTo>
                    <a:pt x="110572" y="720374"/>
                  </a:lnTo>
                  <a:lnTo>
                    <a:pt x="128998" y="718516"/>
                  </a:lnTo>
                  <a:cubicBezTo>
                    <a:pt x="420672" y="658831"/>
                    <a:pt x="640080" y="400758"/>
                    <a:pt x="640080" y="91440"/>
                  </a:cubicBezTo>
                  <a:lnTo>
                    <a:pt x="630862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reeform 18"/>
            <p:cNvSpPr/>
            <p:nvPr/>
          </p:nvSpPr>
          <p:spPr>
            <a:xfrm>
              <a:off x="9608250" y="3038047"/>
              <a:ext cx="923612" cy="731520"/>
            </a:xfrm>
            <a:custGeom>
              <a:avLst/>
              <a:gdLst>
                <a:gd name="connsiteX0" fmla="*/ 817597 w 923612"/>
                <a:gd name="connsiteY0" fmla="*/ 0 h 731520"/>
                <a:gd name="connsiteX1" fmla="*/ 923612 w 923612"/>
                <a:gd name="connsiteY1" fmla="*/ 0 h 731520"/>
                <a:gd name="connsiteX2" fmla="*/ 917712 w 923612"/>
                <a:gd name="connsiteY2" fmla="*/ 38654 h 731520"/>
                <a:gd name="connsiteX3" fmla="*/ 67595 w 923612"/>
                <a:gd name="connsiteY3" fmla="*/ 731520 h 731520"/>
                <a:gd name="connsiteX4" fmla="*/ 0 w 923612"/>
                <a:gd name="connsiteY4" fmla="*/ 731520 h 731520"/>
                <a:gd name="connsiteX5" fmla="*/ 806240 w 923612"/>
                <a:gd name="connsiteY5" fmla="*/ 74415 h 731520"/>
                <a:gd name="connsiteX6" fmla="*/ 817597 w 923612"/>
                <a:gd name="connsiteY6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3612" h="731520">
                  <a:moveTo>
                    <a:pt x="817597" y="0"/>
                  </a:moveTo>
                  <a:lnTo>
                    <a:pt x="923612" y="0"/>
                  </a:lnTo>
                  <a:lnTo>
                    <a:pt x="917712" y="38654"/>
                  </a:lnTo>
                  <a:cubicBezTo>
                    <a:pt x="836798" y="434072"/>
                    <a:pt x="486933" y="731520"/>
                    <a:pt x="67595" y="731520"/>
                  </a:cubicBezTo>
                  <a:lnTo>
                    <a:pt x="0" y="731520"/>
                  </a:lnTo>
                  <a:cubicBezTo>
                    <a:pt x="397694" y="731520"/>
                    <a:pt x="729502" y="449424"/>
                    <a:pt x="806240" y="74415"/>
                  </a:cubicBezTo>
                  <a:lnTo>
                    <a:pt x="817597" y="0"/>
                  </a:lnTo>
                  <a:close/>
                </a:path>
              </a:pathLst>
            </a:custGeom>
            <a:gradFill>
              <a:gsLst>
                <a:gs pos="0">
                  <a:schemeClr val="accent6">
                    <a:lumMod val="50000"/>
                  </a:schemeClr>
                </a:gs>
                <a:gs pos="74000">
                  <a:schemeClr val="accent6">
                    <a:lumMod val="50000"/>
                  </a:schemeClr>
                </a:gs>
                <a:gs pos="83000">
                  <a:schemeClr val="accent6">
                    <a:lumMod val="50000"/>
                  </a:schemeClr>
                </a:gs>
                <a:gs pos="100000">
                  <a:schemeClr val="accent6">
                    <a:lumMod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0" y="6126480"/>
            <a:ext cx="12192000" cy="731520"/>
            <a:chOff x="1003679" y="3038047"/>
            <a:chExt cx="9528183" cy="731520"/>
          </a:xfrm>
        </p:grpSpPr>
        <p:sp>
          <p:nvSpPr>
            <p:cNvPr id="21" name="Freeform 20"/>
            <p:cNvSpPr/>
            <p:nvPr/>
          </p:nvSpPr>
          <p:spPr>
            <a:xfrm>
              <a:off x="1109693" y="3038047"/>
              <a:ext cx="817597" cy="731520"/>
            </a:xfrm>
            <a:custGeom>
              <a:avLst/>
              <a:gdLst>
                <a:gd name="connsiteX0" fmla="*/ 0 w 817597"/>
                <a:gd name="connsiteY0" fmla="*/ 0 h 731520"/>
                <a:gd name="connsiteX1" fmla="*/ 86077 w 817597"/>
                <a:gd name="connsiteY1" fmla="*/ 0 h 731520"/>
                <a:gd name="connsiteX2" fmla="*/ 817597 w 817597"/>
                <a:gd name="connsiteY2" fmla="*/ 731520 h 731520"/>
                <a:gd name="connsiteX3" fmla="*/ 11357 w 817597"/>
                <a:gd name="connsiteY3" fmla="*/ 74415 h 731520"/>
                <a:gd name="connsiteX4" fmla="*/ 0 w 817597"/>
                <a:gd name="connsiteY4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597" h="731520">
                  <a:moveTo>
                    <a:pt x="0" y="0"/>
                  </a:moveTo>
                  <a:lnTo>
                    <a:pt x="86077" y="0"/>
                  </a:lnTo>
                  <a:cubicBezTo>
                    <a:pt x="86077" y="404007"/>
                    <a:pt x="413590" y="731520"/>
                    <a:pt x="817597" y="731520"/>
                  </a:cubicBezTo>
                  <a:cubicBezTo>
                    <a:pt x="419903" y="731520"/>
                    <a:pt x="88095" y="449424"/>
                    <a:pt x="11357" y="74415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A42700"/>
                </a:gs>
                <a:gs pos="74000">
                  <a:srgbClr val="A42700"/>
                </a:gs>
                <a:gs pos="83000">
                  <a:srgbClr val="A42700"/>
                </a:gs>
                <a:gs pos="100000">
                  <a:srgbClr val="A4270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Freeform 21"/>
            <p:cNvSpPr/>
            <p:nvPr/>
          </p:nvSpPr>
          <p:spPr>
            <a:xfrm>
              <a:off x="1287210" y="3038047"/>
              <a:ext cx="529509" cy="720374"/>
            </a:xfrm>
            <a:custGeom>
              <a:avLst/>
              <a:gdLst>
                <a:gd name="connsiteX0" fmla="*/ 9218 w 529509"/>
                <a:gd name="connsiteY0" fmla="*/ 0 h 720374"/>
                <a:gd name="connsiteX1" fmla="*/ 125033 w 529509"/>
                <a:gd name="connsiteY1" fmla="*/ 0 h 720374"/>
                <a:gd name="connsiteX2" fmla="*/ 102586 w 529509"/>
                <a:gd name="connsiteY2" fmla="*/ 72310 h 720374"/>
                <a:gd name="connsiteX3" fmla="*/ 91440 w 529509"/>
                <a:gd name="connsiteY3" fmla="*/ 182880 h 720374"/>
                <a:gd name="connsiteX4" fmla="*/ 426524 w 529509"/>
                <a:gd name="connsiteY4" fmla="*/ 688405 h 720374"/>
                <a:gd name="connsiteX5" fmla="*/ 529509 w 529509"/>
                <a:gd name="connsiteY5" fmla="*/ 720374 h 720374"/>
                <a:gd name="connsiteX6" fmla="*/ 511082 w 529509"/>
                <a:gd name="connsiteY6" fmla="*/ 718516 h 720374"/>
                <a:gd name="connsiteX7" fmla="*/ 0 w 529509"/>
                <a:gd name="connsiteY7" fmla="*/ 91440 h 720374"/>
                <a:gd name="connsiteX8" fmla="*/ 9218 w 529509"/>
                <a:gd name="connsiteY8" fmla="*/ 0 h 720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9509" h="720374">
                  <a:moveTo>
                    <a:pt x="9218" y="0"/>
                  </a:moveTo>
                  <a:lnTo>
                    <a:pt x="125033" y="0"/>
                  </a:lnTo>
                  <a:lnTo>
                    <a:pt x="102586" y="72310"/>
                  </a:lnTo>
                  <a:cubicBezTo>
                    <a:pt x="95278" y="108025"/>
                    <a:pt x="91440" y="145004"/>
                    <a:pt x="91440" y="182880"/>
                  </a:cubicBezTo>
                  <a:cubicBezTo>
                    <a:pt x="91440" y="410135"/>
                    <a:pt x="229609" y="605117"/>
                    <a:pt x="426524" y="688405"/>
                  </a:cubicBezTo>
                  <a:lnTo>
                    <a:pt x="529509" y="720374"/>
                  </a:lnTo>
                  <a:lnTo>
                    <a:pt x="511082" y="718516"/>
                  </a:lnTo>
                  <a:cubicBezTo>
                    <a:pt x="219408" y="658831"/>
                    <a:pt x="0" y="400758"/>
                    <a:pt x="0" y="91440"/>
                  </a:cubicBezTo>
                  <a:lnTo>
                    <a:pt x="9218" y="0"/>
                  </a:lnTo>
                  <a:close/>
                </a:path>
              </a:pathLst>
            </a:custGeom>
            <a:ln>
              <a:noFill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Freeform 22"/>
            <p:cNvSpPr/>
            <p:nvPr/>
          </p:nvSpPr>
          <p:spPr>
            <a:xfrm>
              <a:off x="9718822" y="3038047"/>
              <a:ext cx="529508" cy="720374"/>
            </a:xfrm>
            <a:custGeom>
              <a:avLst/>
              <a:gdLst>
                <a:gd name="connsiteX0" fmla="*/ 404475 w 529508"/>
                <a:gd name="connsiteY0" fmla="*/ 0 h 720374"/>
                <a:gd name="connsiteX1" fmla="*/ 520290 w 529508"/>
                <a:gd name="connsiteY1" fmla="*/ 0 h 720374"/>
                <a:gd name="connsiteX2" fmla="*/ 529508 w 529508"/>
                <a:gd name="connsiteY2" fmla="*/ 91440 h 720374"/>
                <a:gd name="connsiteX3" fmla="*/ 18426 w 529508"/>
                <a:gd name="connsiteY3" fmla="*/ 718516 h 720374"/>
                <a:gd name="connsiteX4" fmla="*/ 0 w 529508"/>
                <a:gd name="connsiteY4" fmla="*/ 720374 h 720374"/>
                <a:gd name="connsiteX5" fmla="*/ 102984 w 529508"/>
                <a:gd name="connsiteY5" fmla="*/ 688405 h 720374"/>
                <a:gd name="connsiteX6" fmla="*/ 438068 w 529508"/>
                <a:gd name="connsiteY6" fmla="*/ 182880 h 720374"/>
                <a:gd name="connsiteX7" fmla="*/ 426922 w 529508"/>
                <a:gd name="connsiteY7" fmla="*/ 72310 h 720374"/>
                <a:gd name="connsiteX8" fmla="*/ 404475 w 529508"/>
                <a:gd name="connsiteY8" fmla="*/ 0 h 720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9508" h="720374">
                  <a:moveTo>
                    <a:pt x="404475" y="0"/>
                  </a:moveTo>
                  <a:lnTo>
                    <a:pt x="520290" y="0"/>
                  </a:lnTo>
                  <a:lnTo>
                    <a:pt x="529508" y="91440"/>
                  </a:lnTo>
                  <a:cubicBezTo>
                    <a:pt x="529508" y="400758"/>
                    <a:pt x="310100" y="658831"/>
                    <a:pt x="18426" y="718516"/>
                  </a:cubicBezTo>
                  <a:lnTo>
                    <a:pt x="0" y="720374"/>
                  </a:lnTo>
                  <a:lnTo>
                    <a:pt x="102984" y="688405"/>
                  </a:lnTo>
                  <a:cubicBezTo>
                    <a:pt x="299899" y="605117"/>
                    <a:pt x="438068" y="410135"/>
                    <a:pt x="438068" y="182880"/>
                  </a:cubicBezTo>
                  <a:cubicBezTo>
                    <a:pt x="438068" y="145004"/>
                    <a:pt x="434230" y="108025"/>
                    <a:pt x="426922" y="72310"/>
                  </a:cubicBezTo>
                  <a:lnTo>
                    <a:pt x="404475" y="0"/>
                  </a:lnTo>
                  <a:close/>
                </a:path>
              </a:pathLst>
            </a:custGeom>
            <a:ln>
              <a:noFill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Freeform 23"/>
            <p:cNvSpPr/>
            <p:nvPr/>
          </p:nvSpPr>
          <p:spPr>
            <a:xfrm>
              <a:off x="9608250" y="3038047"/>
              <a:ext cx="817597" cy="731520"/>
            </a:xfrm>
            <a:custGeom>
              <a:avLst/>
              <a:gdLst>
                <a:gd name="connsiteX0" fmla="*/ 731520 w 817597"/>
                <a:gd name="connsiteY0" fmla="*/ 0 h 731520"/>
                <a:gd name="connsiteX1" fmla="*/ 817597 w 817597"/>
                <a:gd name="connsiteY1" fmla="*/ 0 h 731520"/>
                <a:gd name="connsiteX2" fmla="*/ 806240 w 817597"/>
                <a:gd name="connsiteY2" fmla="*/ 74415 h 731520"/>
                <a:gd name="connsiteX3" fmla="*/ 0 w 817597"/>
                <a:gd name="connsiteY3" fmla="*/ 731520 h 731520"/>
                <a:gd name="connsiteX4" fmla="*/ 731520 w 817597"/>
                <a:gd name="connsiteY4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597" h="731520">
                  <a:moveTo>
                    <a:pt x="731520" y="0"/>
                  </a:moveTo>
                  <a:lnTo>
                    <a:pt x="817597" y="0"/>
                  </a:lnTo>
                  <a:lnTo>
                    <a:pt x="806240" y="74415"/>
                  </a:lnTo>
                  <a:cubicBezTo>
                    <a:pt x="729502" y="449424"/>
                    <a:pt x="397694" y="731520"/>
                    <a:pt x="0" y="731520"/>
                  </a:cubicBezTo>
                  <a:cubicBezTo>
                    <a:pt x="404007" y="731520"/>
                    <a:pt x="731520" y="404007"/>
                    <a:pt x="731520" y="0"/>
                  </a:cubicBezTo>
                  <a:close/>
                </a:path>
              </a:pathLst>
            </a:custGeom>
            <a:gradFill>
              <a:gsLst>
                <a:gs pos="0">
                  <a:srgbClr val="A42700"/>
                </a:gs>
                <a:gs pos="74000">
                  <a:srgbClr val="A42700"/>
                </a:gs>
                <a:gs pos="83000">
                  <a:srgbClr val="A42700"/>
                </a:gs>
                <a:gs pos="100000">
                  <a:srgbClr val="A4270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Freeform 24"/>
            <p:cNvSpPr/>
            <p:nvPr/>
          </p:nvSpPr>
          <p:spPr>
            <a:xfrm>
              <a:off x="1816719" y="3758421"/>
              <a:ext cx="110571" cy="11146"/>
            </a:xfrm>
            <a:custGeom>
              <a:avLst/>
              <a:gdLst>
                <a:gd name="connsiteX0" fmla="*/ 0 w 110571"/>
                <a:gd name="connsiteY0" fmla="*/ 0 h 11146"/>
                <a:gd name="connsiteX1" fmla="*/ 110571 w 110571"/>
                <a:gd name="connsiteY1" fmla="*/ 11146 h 11146"/>
                <a:gd name="connsiteX2" fmla="*/ 1 w 110571"/>
                <a:gd name="connsiteY2" fmla="*/ 0 h 11146"/>
                <a:gd name="connsiteX3" fmla="*/ 0 w 110571"/>
                <a:gd name="connsiteY3" fmla="*/ 0 h 1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571" h="11146">
                  <a:moveTo>
                    <a:pt x="0" y="0"/>
                  </a:moveTo>
                  <a:lnTo>
                    <a:pt x="110571" y="11146"/>
                  </a:lnTo>
                  <a:cubicBezTo>
                    <a:pt x="72695" y="11146"/>
                    <a:pt x="35716" y="7308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Freeform 25"/>
            <p:cNvSpPr/>
            <p:nvPr/>
          </p:nvSpPr>
          <p:spPr>
            <a:xfrm>
              <a:off x="9608250" y="3758421"/>
              <a:ext cx="110572" cy="11146"/>
            </a:xfrm>
            <a:custGeom>
              <a:avLst/>
              <a:gdLst>
                <a:gd name="connsiteX0" fmla="*/ 110572 w 110572"/>
                <a:gd name="connsiteY0" fmla="*/ 0 h 11146"/>
                <a:gd name="connsiteX1" fmla="*/ 110570 w 110572"/>
                <a:gd name="connsiteY1" fmla="*/ 0 h 11146"/>
                <a:gd name="connsiteX2" fmla="*/ 0 w 110572"/>
                <a:gd name="connsiteY2" fmla="*/ 11146 h 11146"/>
                <a:gd name="connsiteX3" fmla="*/ 110572 w 110572"/>
                <a:gd name="connsiteY3" fmla="*/ 0 h 1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572" h="11146">
                  <a:moveTo>
                    <a:pt x="110572" y="0"/>
                  </a:moveTo>
                  <a:lnTo>
                    <a:pt x="110570" y="0"/>
                  </a:lnTo>
                  <a:cubicBezTo>
                    <a:pt x="74855" y="7308"/>
                    <a:pt x="37876" y="11146"/>
                    <a:pt x="0" y="11146"/>
                  </a:cubicBezTo>
                  <a:lnTo>
                    <a:pt x="110572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Freeform 26"/>
            <p:cNvSpPr/>
            <p:nvPr/>
          </p:nvSpPr>
          <p:spPr>
            <a:xfrm>
              <a:off x="1003679" y="3038047"/>
              <a:ext cx="923611" cy="731520"/>
            </a:xfrm>
            <a:custGeom>
              <a:avLst/>
              <a:gdLst>
                <a:gd name="connsiteX0" fmla="*/ 0 w 923611"/>
                <a:gd name="connsiteY0" fmla="*/ 0 h 731520"/>
                <a:gd name="connsiteX1" fmla="*/ 106014 w 923611"/>
                <a:gd name="connsiteY1" fmla="*/ 0 h 731520"/>
                <a:gd name="connsiteX2" fmla="*/ 117371 w 923611"/>
                <a:gd name="connsiteY2" fmla="*/ 74415 h 731520"/>
                <a:gd name="connsiteX3" fmla="*/ 923611 w 923611"/>
                <a:gd name="connsiteY3" fmla="*/ 731520 h 731520"/>
                <a:gd name="connsiteX4" fmla="*/ 856017 w 923611"/>
                <a:gd name="connsiteY4" fmla="*/ 731520 h 731520"/>
                <a:gd name="connsiteX5" fmla="*/ 5900 w 923611"/>
                <a:gd name="connsiteY5" fmla="*/ 38654 h 731520"/>
                <a:gd name="connsiteX6" fmla="*/ 0 w 923611"/>
                <a:gd name="connsiteY6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3611" h="731520">
                  <a:moveTo>
                    <a:pt x="0" y="0"/>
                  </a:moveTo>
                  <a:lnTo>
                    <a:pt x="106014" y="0"/>
                  </a:lnTo>
                  <a:lnTo>
                    <a:pt x="117371" y="74415"/>
                  </a:lnTo>
                  <a:cubicBezTo>
                    <a:pt x="194109" y="449424"/>
                    <a:pt x="525917" y="731520"/>
                    <a:pt x="923611" y="731520"/>
                  </a:cubicBezTo>
                  <a:lnTo>
                    <a:pt x="856017" y="731520"/>
                  </a:lnTo>
                  <a:cubicBezTo>
                    <a:pt x="436679" y="731520"/>
                    <a:pt x="86814" y="434072"/>
                    <a:pt x="5900" y="38654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chemeClr val="accent6">
                    <a:lumMod val="50000"/>
                  </a:schemeClr>
                </a:gs>
                <a:gs pos="74000">
                  <a:schemeClr val="accent6">
                    <a:lumMod val="50000"/>
                  </a:schemeClr>
                </a:gs>
                <a:gs pos="83000">
                  <a:schemeClr val="accent6">
                    <a:lumMod val="50000"/>
                  </a:schemeClr>
                </a:gs>
                <a:gs pos="100000">
                  <a:schemeClr val="accent6">
                    <a:lumMod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Freeform 27"/>
            <p:cNvSpPr/>
            <p:nvPr/>
          </p:nvSpPr>
          <p:spPr>
            <a:xfrm>
              <a:off x="1195770" y="3038047"/>
              <a:ext cx="731520" cy="731520"/>
            </a:xfrm>
            <a:custGeom>
              <a:avLst/>
              <a:gdLst>
                <a:gd name="connsiteX0" fmla="*/ 0 w 731520"/>
                <a:gd name="connsiteY0" fmla="*/ 0 h 731520"/>
                <a:gd name="connsiteX1" fmla="*/ 100658 w 731520"/>
                <a:gd name="connsiteY1" fmla="*/ 0 h 731520"/>
                <a:gd name="connsiteX2" fmla="*/ 91440 w 731520"/>
                <a:gd name="connsiteY2" fmla="*/ 91440 h 731520"/>
                <a:gd name="connsiteX3" fmla="*/ 602522 w 731520"/>
                <a:gd name="connsiteY3" fmla="*/ 718516 h 731520"/>
                <a:gd name="connsiteX4" fmla="*/ 620949 w 731520"/>
                <a:gd name="connsiteY4" fmla="*/ 720374 h 731520"/>
                <a:gd name="connsiteX5" fmla="*/ 620950 w 731520"/>
                <a:gd name="connsiteY5" fmla="*/ 720374 h 731520"/>
                <a:gd name="connsiteX6" fmla="*/ 731520 w 731520"/>
                <a:gd name="connsiteY6" fmla="*/ 731520 h 731520"/>
                <a:gd name="connsiteX7" fmla="*/ 0 w 731520"/>
                <a:gd name="connsiteY7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0" h="731520">
                  <a:moveTo>
                    <a:pt x="0" y="0"/>
                  </a:moveTo>
                  <a:lnTo>
                    <a:pt x="100658" y="0"/>
                  </a:lnTo>
                  <a:lnTo>
                    <a:pt x="91440" y="91440"/>
                  </a:lnTo>
                  <a:cubicBezTo>
                    <a:pt x="91440" y="400758"/>
                    <a:pt x="310848" y="658831"/>
                    <a:pt x="602522" y="718516"/>
                  </a:cubicBezTo>
                  <a:lnTo>
                    <a:pt x="620949" y="720374"/>
                  </a:lnTo>
                  <a:lnTo>
                    <a:pt x="620950" y="720374"/>
                  </a:lnTo>
                  <a:cubicBezTo>
                    <a:pt x="656665" y="727682"/>
                    <a:pt x="693644" y="731520"/>
                    <a:pt x="731520" y="731520"/>
                  </a:cubicBezTo>
                  <a:cubicBezTo>
                    <a:pt x="327513" y="731520"/>
                    <a:pt x="0" y="404007"/>
                    <a:pt x="0" y="0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Freeform 28"/>
            <p:cNvSpPr/>
            <p:nvPr/>
          </p:nvSpPr>
          <p:spPr>
            <a:xfrm>
              <a:off x="1378650" y="3038047"/>
              <a:ext cx="8778240" cy="731520"/>
            </a:xfrm>
            <a:custGeom>
              <a:avLst/>
              <a:gdLst>
                <a:gd name="connsiteX0" fmla="*/ 33593 w 8778240"/>
                <a:gd name="connsiteY0" fmla="*/ 0 h 731520"/>
                <a:gd name="connsiteX1" fmla="*/ 8744647 w 8778240"/>
                <a:gd name="connsiteY1" fmla="*/ 0 h 731520"/>
                <a:gd name="connsiteX2" fmla="*/ 8767094 w 8778240"/>
                <a:gd name="connsiteY2" fmla="*/ 72310 h 731520"/>
                <a:gd name="connsiteX3" fmla="*/ 8778240 w 8778240"/>
                <a:gd name="connsiteY3" fmla="*/ 182880 h 731520"/>
                <a:gd name="connsiteX4" fmla="*/ 8443156 w 8778240"/>
                <a:gd name="connsiteY4" fmla="*/ 688405 h 731520"/>
                <a:gd name="connsiteX5" fmla="*/ 8340172 w 8778240"/>
                <a:gd name="connsiteY5" fmla="*/ 720374 h 731520"/>
                <a:gd name="connsiteX6" fmla="*/ 8229600 w 8778240"/>
                <a:gd name="connsiteY6" fmla="*/ 731520 h 731520"/>
                <a:gd name="connsiteX7" fmla="*/ 548640 w 8778240"/>
                <a:gd name="connsiteY7" fmla="*/ 731520 h 731520"/>
                <a:gd name="connsiteX8" fmla="*/ 438069 w 8778240"/>
                <a:gd name="connsiteY8" fmla="*/ 720374 h 731520"/>
                <a:gd name="connsiteX9" fmla="*/ 335084 w 8778240"/>
                <a:gd name="connsiteY9" fmla="*/ 688405 h 731520"/>
                <a:gd name="connsiteX10" fmla="*/ 0 w 8778240"/>
                <a:gd name="connsiteY10" fmla="*/ 182880 h 731520"/>
                <a:gd name="connsiteX11" fmla="*/ 11146 w 8778240"/>
                <a:gd name="connsiteY11" fmla="*/ 72310 h 731520"/>
                <a:gd name="connsiteX12" fmla="*/ 33593 w 8778240"/>
                <a:gd name="connsiteY12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78240" h="731520">
                  <a:moveTo>
                    <a:pt x="33593" y="0"/>
                  </a:moveTo>
                  <a:lnTo>
                    <a:pt x="8744647" y="0"/>
                  </a:lnTo>
                  <a:lnTo>
                    <a:pt x="8767094" y="72310"/>
                  </a:lnTo>
                  <a:cubicBezTo>
                    <a:pt x="8774402" y="108025"/>
                    <a:pt x="8778240" y="145004"/>
                    <a:pt x="8778240" y="182880"/>
                  </a:cubicBezTo>
                  <a:cubicBezTo>
                    <a:pt x="8778240" y="410135"/>
                    <a:pt x="8640071" y="605117"/>
                    <a:pt x="8443156" y="688405"/>
                  </a:cubicBezTo>
                  <a:lnTo>
                    <a:pt x="8340172" y="720374"/>
                  </a:lnTo>
                  <a:lnTo>
                    <a:pt x="8229600" y="731520"/>
                  </a:lnTo>
                  <a:lnTo>
                    <a:pt x="548640" y="731520"/>
                  </a:lnTo>
                  <a:lnTo>
                    <a:pt x="438069" y="720374"/>
                  </a:lnTo>
                  <a:lnTo>
                    <a:pt x="335084" y="688405"/>
                  </a:lnTo>
                  <a:cubicBezTo>
                    <a:pt x="138169" y="605117"/>
                    <a:pt x="0" y="410135"/>
                    <a:pt x="0" y="182880"/>
                  </a:cubicBezTo>
                  <a:cubicBezTo>
                    <a:pt x="0" y="145004"/>
                    <a:pt x="3838" y="108025"/>
                    <a:pt x="11146" y="72310"/>
                  </a:cubicBezTo>
                  <a:lnTo>
                    <a:pt x="33593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Freeform 29"/>
            <p:cNvSpPr/>
            <p:nvPr/>
          </p:nvSpPr>
          <p:spPr>
            <a:xfrm>
              <a:off x="9608250" y="3038047"/>
              <a:ext cx="731520" cy="731520"/>
            </a:xfrm>
            <a:custGeom>
              <a:avLst/>
              <a:gdLst>
                <a:gd name="connsiteX0" fmla="*/ 630862 w 731520"/>
                <a:gd name="connsiteY0" fmla="*/ 0 h 731520"/>
                <a:gd name="connsiteX1" fmla="*/ 731520 w 731520"/>
                <a:gd name="connsiteY1" fmla="*/ 0 h 731520"/>
                <a:gd name="connsiteX2" fmla="*/ 0 w 731520"/>
                <a:gd name="connsiteY2" fmla="*/ 731520 h 731520"/>
                <a:gd name="connsiteX3" fmla="*/ 110570 w 731520"/>
                <a:gd name="connsiteY3" fmla="*/ 720374 h 731520"/>
                <a:gd name="connsiteX4" fmla="*/ 110572 w 731520"/>
                <a:gd name="connsiteY4" fmla="*/ 720374 h 731520"/>
                <a:gd name="connsiteX5" fmla="*/ 128998 w 731520"/>
                <a:gd name="connsiteY5" fmla="*/ 718516 h 731520"/>
                <a:gd name="connsiteX6" fmla="*/ 640080 w 731520"/>
                <a:gd name="connsiteY6" fmla="*/ 91440 h 731520"/>
                <a:gd name="connsiteX7" fmla="*/ 630862 w 731520"/>
                <a:gd name="connsiteY7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0" h="731520">
                  <a:moveTo>
                    <a:pt x="630862" y="0"/>
                  </a:moveTo>
                  <a:lnTo>
                    <a:pt x="731520" y="0"/>
                  </a:lnTo>
                  <a:cubicBezTo>
                    <a:pt x="731520" y="404007"/>
                    <a:pt x="404007" y="731520"/>
                    <a:pt x="0" y="731520"/>
                  </a:cubicBezTo>
                  <a:cubicBezTo>
                    <a:pt x="37876" y="731520"/>
                    <a:pt x="74855" y="727682"/>
                    <a:pt x="110570" y="720374"/>
                  </a:cubicBezTo>
                  <a:lnTo>
                    <a:pt x="110572" y="720374"/>
                  </a:lnTo>
                  <a:lnTo>
                    <a:pt x="128998" y="718516"/>
                  </a:lnTo>
                  <a:cubicBezTo>
                    <a:pt x="420672" y="658831"/>
                    <a:pt x="640080" y="400758"/>
                    <a:pt x="640080" y="91440"/>
                  </a:cubicBezTo>
                  <a:lnTo>
                    <a:pt x="630862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Freeform 30"/>
            <p:cNvSpPr/>
            <p:nvPr/>
          </p:nvSpPr>
          <p:spPr>
            <a:xfrm>
              <a:off x="9608250" y="3038047"/>
              <a:ext cx="923612" cy="731520"/>
            </a:xfrm>
            <a:custGeom>
              <a:avLst/>
              <a:gdLst>
                <a:gd name="connsiteX0" fmla="*/ 817597 w 923612"/>
                <a:gd name="connsiteY0" fmla="*/ 0 h 731520"/>
                <a:gd name="connsiteX1" fmla="*/ 923612 w 923612"/>
                <a:gd name="connsiteY1" fmla="*/ 0 h 731520"/>
                <a:gd name="connsiteX2" fmla="*/ 917712 w 923612"/>
                <a:gd name="connsiteY2" fmla="*/ 38654 h 731520"/>
                <a:gd name="connsiteX3" fmla="*/ 67595 w 923612"/>
                <a:gd name="connsiteY3" fmla="*/ 731520 h 731520"/>
                <a:gd name="connsiteX4" fmla="*/ 0 w 923612"/>
                <a:gd name="connsiteY4" fmla="*/ 731520 h 731520"/>
                <a:gd name="connsiteX5" fmla="*/ 806240 w 923612"/>
                <a:gd name="connsiteY5" fmla="*/ 74415 h 731520"/>
                <a:gd name="connsiteX6" fmla="*/ 817597 w 923612"/>
                <a:gd name="connsiteY6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3612" h="731520">
                  <a:moveTo>
                    <a:pt x="817597" y="0"/>
                  </a:moveTo>
                  <a:lnTo>
                    <a:pt x="923612" y="0"/>
                  </a:lnTo>
                  <a:lnTo>
                    <a:pt x="917712" y="38654"/>
                  </a:lnTo>
                  <a:cubicBezTo>
                    <a:pt x="836798" y="434072"/>
                    <a:pt x="486933" y="731520"/>
                    <a:pt x="67595" y="731520"/>
                  </a:cubicBezTo>
                  <a:lnTo>
                    <a:pt x="0" y="731520"/>
                  </a:lnTo>
                  <a:cubicBezTo>
                    <a:pt x="397694" y="731520"/>
                    <a:pt x="729502" y="449424"/>
                    <a:pt x="806240" y="74415"/>
                  </a:cubicBezTo>
                  <a:lnTo>
                    <a:pt x="817597" y="0"/>
                  </a:lnTo>
                  <a:close/>
                </a:path>
              </a:pathLst>
            </a:custGeom>
            <a:gradFill>
              <a:gsLst>
                <a:gs pos="0">
                  <a:schemeClr val="accent6">
                    <a:lumMod val="50000"/>
                  </a:schemeClr>
                </a:gs>
                <a:gs pos="74000">
                  <a:schemeClr val="accent6">
                    <a:lumMod val="50000"/>
                  </a:schemeClr>
                </a:gs>
                <a:gs pos="83000">
                  <a:schemeClr val="accent6">
                    <a:lumMod val="50000"/>
                  </a:schemeClr>
                </a:gs>
                <a:gs pos="100000">
                  <a:schemeClr val="accent6">
                    <a:lumMod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itle 6"/>
          <p:cNvSpPr txBox="1">
            <a:spLocks/>
          </p:cNvSpPr>
          <p:nvPr/>
        </p:nvSpPr>
        <p:spPr>
          <a:xfrm>
            <a:off x="838199" y="52836"/>
            <a:ext cx="10515600" cy="80266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 baseline="0">
                <a:solidFill>
                  <a:schemeClr val="tx1"/>
                </a:solidFill>
                <a:latin typeface="NikoshBAN" panose="02000000000000000000" pitchFamily="2" charset="0"/>
                <a:ea typeface="+mj-ea"/>
                <a:cs typeface="NikoshBAN" panose="02000000000000000000" pitchFamily="2" charset="0"/>
              </a:defRPr>
            </a:lvl1pPr>
          </a:lstStyle>
          <a:p>
            <a:pPr algn="ctr"/>
            <a:r>
              <a:rPr lang="en-US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পাঠ</a:t>
            </a:r>
            <a:r>
              <a:rPr lang="en-US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পরিচিতি</a:t>
            </a:r>
            <a:endParaRPr lang="en-US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350858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2"/>
          <a:srcRect r="47739"/>
          <a:stretch/>
        </p:blipFill>
        <p:spPr>
          <a:xfrm flipH="1">
            <a:off x="445546" y="2781560"/>
            <a:ext cx="2628710" cy="169832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333" b="97778" l="0" r="100000">
                        <a14:backgroundMark x1="35111" y1="3111" x2="11111" y2="18222"/>
                        <a14:backgroundMark x1="11111" y1="18222" x2="889" y2="41333"/>
                        <a14:backgroundMark x1="889" y1="41333" x2="4444" y2="72444"/>
                        <a14:backgroundMark x1="4444" y1="72444" x2="18222" y2="89778"/>
                        <a14:backgroundMark x1="18222" y1="91556" x2="42222" y2="99556"/>
                        <a14:backgroundMark x1="42222" y1="99556" x2="56000" y2="99111"/>
                        <a14:backgroundMark x1="56000" y1="99111" x2="76444" y2="94222"/>
                        <a14:backgroundMark x1="76444" y1="94222" x2="89333" y2="81778"/>
                        <a14:backgroundMark x1="92000" y1="78222" x2="99556" y2="54667"/>
                        <a14:backgroundMark x1="99556" y1="54667" x2="96444" y2="24889"/>
                        <a14:backgroundMark x1="96444" y1="24889" x2="66667" y2="88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530786" y="3037864"/>
            <a:ext cx="2255587" cy="2255587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91539" y="690366"/>
            <a:ext cx="1988973" cy="250610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5682" y="3055614"/>
            <a:ext cx="2143125" cy="2143125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53060" y="2781560"/>
            <a:ext cx="2628709" cy="1698323"/>
          </a:xfrm>
          <a:prstGeom prst="rect">
            <a:avLst/>
          </a:prstGeom>
        </p:spPr>
      </p:pic>
      <p:grpSp>
        <p:nvGrpSpPr>
          <p:cNvPr id="22" name="Group 21"/>
          <p:cNvGrpSpPr/>
          <p:nvPr/>
        </p:nvGrpSpPr>
        <p:grpSpPr>
          <a:xfrm flipV="1">
            <a:off x="0" y="0"/>
            <a:ext cx="12192000" cy="731520"/>
            <a:chOff x="1003679" y="3038047"/>
            <a:chExt cx="9528183" cy="731520"/>
          </a:xfrm>
        </p:grpSpPr>
        <p:sp>
          <p:nvSpPr>
            <p:cNvPr id="28" name="Freeform 27"/>
            <p:cNvSpPr/>
            <p:nvPr/>
          </p:nvSpPr>
          <p:spPr>
            <a:xfrm>
              <a:off x="1109693" y="3038047"/>
              <a:ext cx="817597" cy="731520"/>
            </a:xfrm>
            <a:custGeom>
              <a:avLst/>
              <a:gdLst>
                <a:gd name="connsiteX0" fmla="*/ 0 w 817597"/>
                <a:gd name="connsiteY0" fmla="*/ 0 h 731520"/>
                <a:gd name="connsiteX1" fmla="*/ 86077 w 817597"/>
                <a:gd name="connsiteY1" fmla="*/ 0 h 731520"/>
                <a:gd name="connsiteX2" fmla="*/ 817597 w 817597"/>
                <a:gd name="connsiteY2" fmla="*/ 731520 h 731520"/>
                <a:gd name="connsiteX3" fmla="*/ 11357 w 817597"/>
                <a:gd name="connsiteY3" fmla="*/ 74415 h 731520"/>
                <a:gd name="connsiteX4" fmla="*/ 0 w 817597"/>
                <a:gd name="connsiteY4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597" h="731520">
                  <a:moveTo>
                    <a:pt x="0" y="0"/>
                  </a:moveTo>
                  <a:lnTo>
                    <a:pt x="86077" y="0"/>
                  </a:lnTo>
                  <a:cubicBezTo>
                    <a:pt x="86077" y="404007"/>
                    <a:pt x="413590" y="731520"/>
                    <a:pt x="817597" y="731520"/>
                  </a:cubicBezTo>
                  <a:cubicBezTo>
                    <a:pt x="419903" y="731520"/>
                    <a:pt x="88095" y="449424"/>
                    <a:pt x="11357" y="74415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A42700"/>
                </a:gs>
                <a:gs pos="74000">
                  <a:srgbClr val="A42700"/>
                </a:gs>
                <a:gs pos="83000">
                  <a:srgbClr val="A42700"/>
                </a:gs>
                <a:gs pos="100000">
                  <a:srgbClr val="A4270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Freeform 28"/>
            <p:cNvSpPr/>
            <p:nvPr/>
          </p:nvSpPr>
          <p:spPr>
            <a:xfrm>
              <a:off x="1287210" y="3038047"/>
              <a:ext cx="529509" cy="720374"/>
            </a:xfrm>
            <a:custGeom>
              <a:avLst/>
              <a:gdLst>
                <a:gd name="connsiteX0" fmla="*/ 9218 w 529509"/>
                <a:gd name="connsiteY0" fmla="*/ 0 h 720374"/>
                <a:gd name="connsiteX1" fmla="*/ 125033 w 529509"/>
                <a:gd name="connsiteY1" fmla="*/ 0 h 720374"/>
                <a:gd name="connsiteX2" fmla="*/ 102586 w 529509"/>
                <a:gd name="connsiteY2" fmla="*/ 72310 h 720374"/>
                <a:gd name="connsiteX3" fmla="*/ 91440 w 529509"/>
                <a:gd name="connsiteY3" fmla="*/ 182880 h 720374"/>
                <a:gd name="connsiteX4" fmla="*/ 426524 w 529509"/>
                <a:gd name="connsiteY4" fmla="*/ 688405 h 720374"/>
                <a:gd name="connsiteX5" fmla="*/ 529509 w 529509"/>
                <a:gd name="connsiteY5" fmla="*/ 720374 h 720374"/>
                <a:gd name="connsiteX6" fmla="*/ 511082 w 529509"/>
                <a:gd name="connsiteY6" fmla="*/ 718516 h 720374"/>
                <a:gd name="connsiteX7" fmla="*/ 0 w 529509"/>
                <a:gd name="connsiteY7" fmla="*/ 91440 h 720374"/>
                <a:gd name="connsiteX8" fmla="*/ 9218 w 529509"/>
                <a:gd name="connsiteY8" fmla="*/ 0 h 720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9509" h="720374">
                  <a:moveTo>
                    <a:pt x="9218" y="0"/>
                  </a:moveTo>
                  <a:lnTo>
                    <a:pt x="125033" y="0"/>
                  </a:lnTo>
                  <a:lnTo>
                    <a:pt x="102586" y="72310"/>
                  </a:lnTo>
                  <a:cubicBezTo>
                    <a:pt x="95278" y="108025"/>
                    <a:pt x="91440" y="145004"/>
                    <a:pt x="91440" y="182880"/>
                  </a:cubicBezTo>
                  <a:cubicBezTo>
                    <a:pt x="91440" y="410135"/>
                    <a:pt x="229609" y="605117"/>
                    <a:pt x="426524" y="688405"/>
                  </a:cubicBezTo>
                  <a:lnTo>
                    <a:pt x="529509" y="720374"/>
                  </a:lnTo>
                  <a:lnTo>
                    <a:pt x="511082" y="718516"/>
                  </a:lnTo>
                  <a:cubicBezTo>
                    <a:pt x="219408" y="658831"/>
                    <a:pt x="0" y="400758"/>
                    <a:pt x="0" y="91440"/>
                  </a:cubicBezTo>
                  <a:lnTo>
                    <a:pt x="9218" y="0"/>
                  </a:lnTo>
                  <a:close/>
                </a:path>
              </a:pathLst>
            </a:custGeom>
            <a:ln>
              <a:noFill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Freeform 29"/>
            <p:cNvSpPr/>
            <p:nvPr/>
          </p:nvSpPr>
          <p:spPr>
            <a:xfrm>
              <a:off x="9718822" y="3038047"/>
              <a:ext cx="529508" cy="720374"/>
            </a:xfrm>
            <a:custGeom>
              <a:avLst/>
              <a:gdLst>
                <a:gd name="connsiteX0" fmla="*/ 404475 w 529508"/>
                <a:gd name="connsiteY0" fmla="*/ 0 h 720374"/>
                <a:gd name="connsiteX1" fmla="*/ 520290 w 529508"/>
                <a:gd name="connsiteY1" fmla="*/ 0 h 720374"/>
                <a:gd name="connsiteX2" fmla="*/ 529508 w 529508"/>
                <a:gd name="connsiteY2" fmla="*/ 91440 h 720374"/>
                <a:gd name="connsiteX3" fmla="*/ 18426 w 529508"/>
                <a:gd name="connsiteY3" fmla="*/ 718516 h 720374"/>
                <a:gd name="connsiteX4" fmla="*/ 0 w 529508"/>
                <a:gd name="connsiteY4" fmla="*/ 720374 h 720374"/>
                <a:gd name="connsiteX5" fmla="*/ 102984 w 529508"/>
                <a:gd name="connsiteY5" fmla="*/ 688405 h 720374"/>
                <a:gd name="connsiteX6" fmla="*/ 438068 w 529508"/>
                <a:gd name="connsiteY6" fmla="*/ 182880 h 720374"/>
                <a:gd name="connsiteX7" fmla="*/ 426922 w 529508"/>
                <a:gd name="connsiteY7" fmla="*/ 72310 h 720374"/>
                <a:gd name="connsiteX8" fmla="*/ 404475 w 529508"/>
                <a:gd name="connsiteY8" fmla="*/ 0 h 720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9508" h="720374">
                  <a:moveTo>
                    <a:pt x="404475" y="0"/>
                  </a:moveTo>
                  <a:lnTo>
                    <a:pt x="520290" y="0"/>
                  </a:lnTo>
                  <a:lnTo>
                    <a:pt x="529508" y="91440"/>
                  </a:lnTo>
                  <a:cubicBezTo>
                    <a:pt x="529508" y="400758"/>
                    <a:pt x="310100" y="658831"/>
                    <a:pt x="18426" y="718516"/>
                  </a:cubicBezTo>
                  <a:lnTo>
                    <a:pt x="0" y="720374"/>
                  </a:lnTo>
                  <a:lnTo>
                    <a:pt x="102984" y="688405"/>
                  </a:lnTo>
                  <a:cubicBezTo>
                    <a:pt x="299899" y="605117"/>
                    <a:pt x="438068" y="410135"/>
                    <a:pt x="438068" y="182880"/>
                  </a:cubicBezTo>
                  <a:cubicBezTo>
                    <a:pt x="438068" y="145004"/>
                    <a:pt x="434230" y="108025"/>
                    <a:pt x="426922" y="72310"/>
                  </a:cubicBezTo>
                  <a:lnTo>
                    <a:pt x="404475" y="0"/>
                  </a:lnTo>
                  <a:close/>
                </a:path>
              </a:pathLst>
            </a:custGeom>
            <a:ln>
              <a:noFill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Freeform 30"/>
            <p:cNvSpPr/>
            <p:nvPr/>
          </p:nvSpPr>
          <p:spPr>
            <a:xfrm>
              <a:off x="9608250" y="3038047"/>
              <a:ext cx="817597" cy="731520"/>
            </a:xfrm>
            <a:custGeom>
              <a:avLst/>
              <a:gdLst>
                <a:gd name="connsiteX0" fmla="*/ 731520 w 817597"/>
                <a:gd name="connsiteY0" fmla="*/ 0 h 731520"/>
                <a:gd name="connsiteX1" fmla="*/ 817597 w 817597"/>
                <a:gd name="connsiteY1" fmla="*/ 0 h 731520"/>
                <a:gd name="connsiteX2" fmla="*/ 806240 w 817597"/>
                <a:gd name="connsiteY2" fmla="*/ 74415 h 731520"/>
                <a:gd name="connsiteX3" fmla="*/ 0 w 817597"/>
                <a:gd name="connsiteY3" fmla="*/ 731520 h 731520"/>
                <a:gd name="connsiteX4" fmla="*/ 731520 w 817597"/>
                <a:gd name="connsiteY4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597" h="731520">
                  <a:moveTo>
                    <a:pt x="731520" y="0"/>
                  </a:moveTo>
                  <a:lnTo>
                    <a:pt x="817597" y="0"/>
                  </a:lnTo>
                  <a:lnTo>
                    <a:pt x="806240" y="74415"/>
                  </a:lnTo>
                  <a:cubicBezTo>
                    <a:pt x="729502" y="449424"/>
                    <a:pt x="397694" y="731520"/>
                    <a:pt x="0" y="731520"/>
                  </a:cubicBezTo>
                  <a:cubicBezTo>
                    <a:pt x="404007" y="731520"/>
                    <a:pt x="731520" y="404007"/>
                    <a:pt x="731520" y="0"/>
                  </a:cubicBezTo>
                  <a:close/>
                </a:path>
              </a:pathLst>
            </a:custGeom>
            <a:gradFill>
              <a:gsLst>
                <a:gs pos="0">
                  <a:srgbClr val="A42700"/>
                </a:gs>
                <a:gs pos="74000">
                  <a:srgbClr val="A42700"/>
                </a:gs>
                <a:gs pos="83000">
                  <a:srgbClr val="A42700"/>
                </a:gs>
                <a:gs pos="100000">
                  <a:srgbClr val="A4270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Freeform 31"/>
            <p:cNvSpPr/>
            <p:nvPr/>
          </p:nvSpPr>
          <p:spPr>
            <a:xfrm>
              <a:off x="1816719" y="3758421"/>
              <a:ext cx="110571" cy="11146"/>
            </a:xfrm>
            <a:custGeom>
              <a:avLst/>
              <a:gdLst>
                <a:gd name="connsiteX0" fmla="*/ 0 w 110571"/>
                <a:gd name="connsiteY0" fmla="*/ 0 h 11146"/>
                <a:gd name="connsiteX1" fmla="*/ 110571 w 110571"/>
                <a:gd name="connsiteY1" fmla="*/ 11146 h 11146"/>
                <a:gd name="connsiteX2" fmla="*/ 1 w 110571"/>
                <a:gd name="connsiteY2" fmla="*/ 0 h 11146"/>
                <a:gd name="connsiteX3" fmla="*/ 0 w 110571"/>
                <a:gd name="connsiteY3" fmla="*/ 0 h 1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571" h="11146">
                  <a:moveTo>
                    <a:pt x="0" y="0"/>
                  </a:moveTo>
                  <a:lnTo>
                    <a:pt x="110571" y="11146"/>
                  </a:lnTo>
                  <a:cubicBezTo>
                    <a:pt x="72695" y="11146"/>
                    <a:pt x="35716" y="7308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Freeform 32"/>
            <p:cNvSpPr/>
            <p:nvPr/>
          </p:nvSpPr>
          <p:spPr>
            <a:xfrm>
              <a:off x="9608250" y="3758421"/>
              <a:ext cx="110572" cy="11146"/>
            </a:xfrm>
            <a:custGeom>
              <a:avLst/>
              <a:gdLst>
                <a:gd name="connsiteX0" fmla="*/ 110572 w 110572"/>
                <a:gd name="connsiteY0" fmla="*/ 0 h 11146"/>
                <a:gd name="connsiteX1" fmla="*/ 110570 w 110572"/>
                <a:gd name="connsiteY1" fmla="*/ 0 h 11146"/>
                <a:gd name="connsiteX2" fmla="*/ 0 w 110572"/>
                <a:gd name="connsiteY2" fmla="*/ 11146 h 11146"/>
                <a:gd name="connsiteX3" fmla="*/ 110572 w 110572"/>
                <a:gd name="connsiteY3" fmla="*/ 0 h 1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572" h="11146">
                  <a:moveTo>
                    <a:pt x="110572" y="0"/>
                  </a:moveTo>
                  <a:lnTo>
                    <a:pt x="110570" y="0"/>
                  </a:lnTo>
                  <a:cubicBezTo>
                    <a:pt x="74855" y="7308"/>
                    <a:pt x="37876" y="11146"/>
                    <a:pt x="0" y="11146"/>
                  </a:cubicBezTo>
                  <a:lnTo>
                    <a:pt x="110572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Freeform 33"/>
            <p:cNvSpPr/>
            <p:nvPr/>
          </p:nvSpPr>
          <p:spPr>
            <a:xfrm>
              <a:off x="1003679" y="3038047"/>
              <a:ext cx="923611" cy="731520"/>
            </a:xfrm>
            <a:custGeom>
              <a:avLst/>
              <a:gdLst>
                <a:gd name="connsiteX0" fmla="*/ 0 w 923611"/>
                <a:gd name="connsiteY0" fmla="*/ 0 h 731520"/>
                <a:gd name="connsiteX1" fmla="*/ 106014 w 923611"/>
                <a:gd name="connsiteY1" fmla="*/ 0 h 731520"/>
                <a:gd name="connsiteX2" fmla="*/ 117371 w 923611"/>
                <a:gd name="connsiteY2" fmla="*/ 74415 h 731520"/>
                <a:gd name="connsiteX3" fmla="*/ 923611 w 923611"/>
                <a:gd name="connsiteY3" fmla="*/ 731520 h 731520"/>
                <a:gd name="connsiteX4" fmla="*/ 856017 w 923611"/>
                <a:gd name="connsiteY4" fmla="*/ 731520 h 731520"/>
                <a:gd name="connsiteX5" fmla="*/ 5900 w 923611"/>
                <a:gd name="connsiteY5" fmla="*/ 38654 h 731520"/>
                <a:gd name="connsiteX6" fmla="*/ 0 w 923611"/>
                <a:gd name="connsiteY6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3611" h="731520">
                  <a:moveTo>
                    <a:pt x="0" y="0"/>
                  </a:moveTo>
                  <a:lnTo>
                    <a:pt x="106014" y="0"/>
                  </a:lnTo>
                  <a:lnTo>
                    <a:pt x="117371" y="74415"/>
                  </a:lnTo>
                  <a:cubicBezTo>
                    <a:pt x="194109" y="449424"/>
                    <a:pt x="525917" y="731520"/>
                    <a:pt x="923611" y="731520"/>
                  </a:cubicBezTo>
                  <a:lnTo>
                    <a:pt x="856017" y="731520"/>
                  </a:lnTo>
                  <a:cubicBezTo>
                    <a:pt x="436679" y="731520"/>
                    <a:pt x="86814" y="434072"/>
                    <a:pt x="5900" y="38654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chemeClr val="accent6">
                    <a:lumMod val="50000"/>
                  </a:schemeClr>
                </a:gs>
                <a:gs pos="74000">
                  <a:schemeClr val="accent6">
                    <a:lumMod val="50000"/>
                  </a:schemeClr>
                </a:gs>
                <a:gs pos="83000">
                  <a:schemeClr val="accent6">
                    <a:lumMod val="50000"/>
                  </a:schemeClr>
                </a:gs>
                <a:gs pos="100000">
                  <a:schemeClr val="accent6">
                    <a:lumMod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Freeform 34"/>
            <p:cNvSpPr/>
            <p:nvPr/>
          </p:nvSpPr>
          <p:spPr>
            <a:xfrm>
              <a:off x="1195770" y="3038047"/>
              <a:ext cx="731520" cy="731520"/>
            </a:xfrm>
            <a:custGeom>
              <a:avLst/>
              <a:gdLst>
                <a:gd name="connsiteX0" fmla="*/ 0 w 731520"/>
                <a:gd name="connsiteY0" fmla="*/ 0 h 731520"/>
                <a:gd name="connsiteX1" fmla="*/ 100658 w 731520"/>
                <a:gd name="connsiteY1" fmla="*/ 0 h 731520"/>
                <a:gd name="connsiteX2" fmla="*/ 91440 w 731520"/>
                <a:gd name="connsiteY2" fmla="*/ 91440 h 731520"/>
                <a:gd name="connsiteX3" fmla="*/ 602522 w 731520"/>
                <a:gd name="connsiteY3" fmla="*/ 718516 h 731520"/>
                <a:gd name="connsiteX4" fmla="*/ 620949 w 731520"/>
                <a:gd name="connsiteY4" fmla="*/ 720374 h 731520"/>
                <a:gd name="connsiteX5" fmla="*/ 620950 w 731520"/>
                <a:gd name="connsiteY5" fmla="*/ 720374 h 731520"/>
                <a:gd name="connsiteX6" fmla="*/ 731520 w 731520"/>
                <a:gd name="connsiteY6" fmla="*/ 731520 h 731520"/>
                <a:gd name="connsiteX7" fmla="*/ 0 w 731520"/>
                <a:gd name="connsiteY7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0" h="731520">
                  <a:moveTo>
                    <a:pt x="0" y="0"/>
                  </a:moveTo>
                  <a:lnTo>
                    <a:pt x="100658" y="0"/>
                  </a:lnTo>
                  <a:lnTo>
                    <a:pt x="91440" y="91440"/>
                  </a:lnTo>
                  <a:cubicBezTo>
                    <a:pt x="91440" y="400758"/>
                    <a:pt x="310848" y="658831"/>
                    <a:pt x="602522" y="718516"/>
                  </a:cubicBezTo>
                  <a:lnTo>
                    <a:pt x="620949" y="720374"/>
                  </a:lnTo>
                  <a:lnTo>
                    <a:pt x="620950" y="720374"/>
                  </a:lnTo>
                  <a:cubicBezTo>
                    <a:pt x="656665" y="727682"/>
                    <a:pt x="693644" y="731520"/>
                    <a:pt x="731520" y="731520"/>
                  </a:cubicBezTo>
                  <a:cubicBezTo>
                    <a:pt x="327513" y="731520"/>
                    <a:pt x="0" y="404007"/>
                    <a:pt x="0" y="0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Freeform 35"/>
            <p:cNvSpPr/>
            <p:nvPr/>
          </p:nvSpPr>
          <p:spPr>
            <a:xfrm>
              <a:off x="1378650" y="3038047"/>
              <a:ext cx="8778240" cy="731520"/>
            </a:xfrm>
            <a:custGeom>
              <a:avLst/>
              <a:gdLst>
                <a:gd name="connsiteX0" fmla="*/ 33593 w 8778240"/>
                <a:gd name="connsiteY0" fmla="*/ 0 h 731520"/>
                <a:gd name="connsiteX1" fmla="*/ 8744647 w 8778240"/>
                <a:gd name="connsiteY1" fmla="*/ 0 h 731520"/>
                <a:gd name="connsiteX2" fmla="*/ 8767094 w 8778240"/>
                <a:gd name="connsiteY2" fmla="*/ 72310 h 731520"/>
                <a:gd name="connsiteX3" fmla="*/ 8778240 w 8778240"/>
                <a:gd name="connsiteY3" fmla="*/ 182880 h 731520"/>
                <a:gd name="connsiteX4" fmla="*/ 8443156 w 8778240"/>
                <a:gd name="connsiteY4" fmla="*/ 688405 h 731520"/>
                <a:gd name="connsiteX5" fmla="*/ 8340172 w 8778240"/>
                <a:gd name="connsiteY5" fmla="*/ 720374 h 731520"/>
                <a:gd name="connsiteX6" fmla="*/ 8229600 w 8778240"/>
                <a:gd name="connsiteY6" fmla="*/ 731520 h 731520"/>
                <a:gd name="connsiteX7" fmla="*/ 548640 w 8778240"/>
                <a:gd name="connsiteY7" fmla="*/ 731520 h 731520"/>
                <a:gd name="connsiteX8" fmla="*/ 438069 w 8778240"/>
                <a:gd name="connsiteY8" fmla="*/ 720374 h 731520"/>
                <a:gd name="connsiteX9" fmla="*/ 335084 w 8778240"/>
                <a:gd name="connsiteY9" fmla="*/ 688405 h 731520"/>
                <a:gd name="connsiteX10" fmla="*/ 0 w 8778240"/>
                <a:gd name="connsiteY10" fmla="*/ 182880 h 731520"/>
                <a:gd name="connsiteX11" fmla="*/ 11146 w 8778240"/>
                <a:gd name="connsiteY11" fmla="*/ 72310 h 731520"/>
                <a:gd name="connsiteX12" fmla="*/ 33593 w 8778240"/>
                <a:gd name="connsiteY12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78240" h="731520">
                  <a:moveTo>
                    <a:pt x="33593" y="0"/>
                  </a:moveTo>
                  <a:lnTo>
                    <a:pt x="8744647" y="0"/>
                  </a:lnTo>
                  <a:lnTo>
                    <a:pt x="8767094" y="72310"/>
                  </a:lnTo>
                  <a:cubicBezTo>
                    <a:pt x="8774402" y="108025"/>
                    <a:pt x="8778240" y="145004"/>
                    <a:pt x="8778240" y="182880"/>
                  </a:cubicBezTo>
                  <a:cubicBezTo>
                    <a:pt x="8778240" y="410135"/>
                    <a:pt x="8640071" y="605117"/>
                    <a:pt x="8443156" y="688405"/>
                  </a:cubicBezTo>
                  <a:lnTo>
                    <a:pt x="8340172" y="720374"/>
                  </a:lnTo>
                  <a:lnTo>
                    <a:pt x="8229600" y="731520"/>
                  </a:lnTo>
                  <a:lnTo>
                    <a:pt x="548640" y="731520"/>
                  </a:lnTo>
                  <a:lnTo>
                    <a:pt x="438069" y="720374"/>
                  </a:lnTo>
                  <a:lnTo>
                    <a:pt x="335084" y="688405"/>
                  </a:lnTo>
                  <a:cubicBezTo>
                    <a:pt x="138169" y="605117"/>
                    <a:pt x="0" y="410135"/>
                    <a:pt x="0" y="182880"/>
                  </a:cubicBezTo>
                  <a:cubicBezTo>
                    <a:pt x="0" y="145004"/>
                    <a:pt x="3838" y="108025"/>
                    <a:pt x="11146" y="72310"/>
                  </a:cubicBezTo>
                  <a:lnTo>
                    <a:pt x="33593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Freeform 36"/>
            <p:cNvSpPr/>
            <p:nvPr/>
          </p:nvSpPr>
          <p:spPr>
            <a:xfrm>
              <a:off x="9608250" y="3038047"/>
              <a:ext cx="731520" cy="731520"/>
            </a:xfrm>
            <a:custGeom>
              <a:avLst/>
              <a:gdLst>
                <a:gd name="connsiteX0" fmla="*/ 630862 w 731520"/>
                <a:gd name="connsiteY0" fmla="*/ 0 h 731520"/>
                <a:gd name="connsiteX1" fmla="*/ 731520 w 731520"/>
                <a:gd name="connsiteY1" fmla="*/ 0 h 731520"/>
                <a:gd name="connsiteX2" fmla="*/ 0 w 731520"/>
                <a:gd name="connsiteY2" fmla="*/ 731520 h 731520"/>
                <a:gd name="connsiteX3" fmla="*/ 110570 w 731520"/>
                <a:gd name="connsiteY3" fmla="*/ 720374 h 731520"/>
                <a:gd name="connsiteX4" fmla="*/ 110572 w 731520"/>
                <a:gd name="connsiteY4" fmla="*/ 720374 h 731520"/>
                <a:gd name="connsiteX5" fmla="*/ 128998 w 731520"/>
                <a:gd name="connsiteY5" fmla="*/ 718516 h 731520"/>
                <a:gd name="connsiteX6" fmla="*/ 640080 w 731520"/>
                <a:gd name="connsiteY6" fmla="*/ 91440 h 731520"/>
                <a:gd name="connsiteX7" fmla="*/ 630862 w 731520"/>
                <a:gd name="connsiteY7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0" h="731520">
                  <a:moveTo>
                    <a:pt x="630862" y="0"/>
                  </a:moveTo>
                  <a:lnTo>
                    <a:pt x="731520" y="0"/>
                  </a:lnTo>
                  <a:cubicBezTo>
                    <a:pt x="731520" y="404007"/>
                    <a:pt x="404007" y="731520"/>
                    <a:pt x="0" y="731520"/>
                  </a:cubicBezTo>
                  <a:cubicBezTo>
                    <a:pt x="37876" y="731520"/>
                    <a:pt x="74855" y="727682"/>
                    <a:pt x="110570" y="720374"/>
                  </a:cubicBezTo>
                  <a:lnTo>
                    <a:pt x="110572" y="720374"/>
                  </a:lnTo>
                  <a:lnTo>
                    <a:pt x="128998" y="718516"/>
                  </a:lnTo>
                  <a:cubicBezTo>
                    <a:pt x="420672" y="658831"/>
                    <a:pt x="640080" y="400758"/>
                    <a:pt x="640080" y="91440"/>
                  </a:cubicBezTo>
                  <a:lnTo>
                    <a:pt x="630862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Freeform 37"/>
            <p:cNvSpPr/>
            <p:nvPr/>
          </p:nvSpPr>
          <p:spPr>
            <a:xfrm>
              <a:off x="9608250" y="3038047"/>
              <a:ext cx="923612" cy="731520"/>
            </a:xfrm>
            <a:custGeom>
              <a:avLst/>
              <a:gdLst>
                <a:gd name="connsiteX0" fmla="*/ 817597 w 923612"/>
                <a:gd name="connsiteY0" fmla="*/ 0 h 731520"/>
                <a:gd name="connsiteX1" fmla="*/ 923612 w 923612"/>
                <a:gd name="connsiteY1" fmla="*/ 0 h 731520"/>
                <a:gd name="connsiteX2" fmla="*/ 917712 w 923612"/>
                <a:gd name="connsiteY2" fmla="*/ 38654 h 731520"/>
                <a:gd name="connsiteX3" fmla="*/ 67595 w 923612"/>
                <a:gd name="connsiteY3" fmla="*/ 731520 h 731520"/>
                <a:gd name="connsiteX4" fmla="*/ 0 w 923612"/>
                <a:gd name="connsiteY4" fmla="*/ 731520 h 731520"/>
                <a:gd name="connsiteX5" fmla="*/ 806240 w 923612"/>
                <a:gd name="connsiteY5" fmla="*/ 74415 h 731520"/>
                <a:gd name="connsiteX6" fmla="*/ 817597 w 923612"/>
                <a:gd name="connsiteY6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3612" h="731520">
                  <a:moveTo>
                    <a:pt x="817597" y="0"/>
                  </a:moveTo>
                  <a:lnTo>
                    <a:pt x="923612" y="0"/>
                  </a:lnTo>
                  <a:lnTo>
                    <a:pt x="917712" y="38654"/>
                  </a:lnTo>
                  <a:cubicBezTo>
                    <a:pt x="836798" y="434072"/>
                    <a:pt x="486933" y="731520"/>
                    <a:pt x="67595" y="731520"/>
                  </a:cubicBezTo>
                  <a:lnTo>
                    <a:pt x="0" y="731520"/>
                  </a:lnTo>
                  <a:cubicBezTo>
                    <a:pt x="397694" y="731520"/>
                    <a:pt x="729502" y="449424"/>
                    <a:pt x="806240" y="74415"/>
                  </a:cubicBezTo>
                  <a:lnTo>
                    <a:pt x="817597" y="0"/>
                  </a:lnTo>
                  <a:close/>
                </a:path>
              </a:pathLst>
            </a:custGeom>
            <a:gradFill>
              <a:gsLst>
                <a:gs pos="0">
                  <a:schemeClr val="accent6">
                    <a:lumMod val="50000"/>
                  </a:schemeClr>
                </a:gs>
                <a:gs pos="74000">
                  <a:schemeClr val="accent6">
                    <a:lumMod val="50000"/>
                  </a:schemeClr>
                </a:gs>
                <a:gs pos="83000">
                  <a:schemeClr val="accent6">
                    <a:lumMod val="50000"/>
                  </a:schemeClr>
                </a:gs>
                <a:gs pos="100000">
                  <a:schemeClr val="accent6">
                    <a:lumMod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0" y="6126480"/>
            <a:ext cx="12192000" cy="731520"/>
            <a:chOff x="1003679" y="3038047"/>
            <a:chExt cx="9528183" cy="731520"/>
          </a:xfrm>
        </p:grpSpPr>
        <p:sp>
          <p:nvSpPr>
            <p:cNvPr id="40" name="Freeform 39"/>
            <p:cNvSpPr/>
            <p:nvPr/>
          </p:nvSpPr>
          <p:spPr>
            <a:xfrm>
              <a:off x="1109693" y="3038047"/>
              <a:ext cx="817597" cy="731520"/>
            </a:xfrm>
            <a:custGeom>
              <a:avLst/>
              <a:gdLst>
                <a:gd name="connsiteX0" fmla="*/ 0 w 817597"/>
                <a:gd name="connsiteY0" fmla="*/ 0 h 731520"/>
                <a:gd name="connsiteX1" fmla="*/ 86077 w 817597"/>
                <a:gd name="connsiteY1" fmla="*/ 0 h 731520"/>
                <a:gd name="connsiteX2" fmla="*/ 817597 w 817597"/>
                <a:gd name="connsiteY2" fmla="*/ 731520 h 731520"/>
                <a:gd name="connsiteX3" fmla="*/ 11357 w 817597"/>
                <a:gd name="connsiteY3" fmla="*/ 74415 h 731520"/>
                <a:gd name="connsiteX4" fmla="*/ 0 w 817597"/>
                <a:gd name="connsiteY4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597" h="731520">
                  <a:moveTo>
                    <a:pt x="0" y="0"/>
                  </a:moveTo>
                  <a:lnTo>
                    <a:pt x="86077" y="0"/>
                  </a:lnTo>
                  <a:cubicBezTo>
                    <a:pt x="86077" y="404007"/>
                    <a:pt x="413590" y="731520"/>
                    <a:pt x="817597" y="731520"/>
                  </a:cubicBezTo>
                  <a:cubicBezTo>
                    <a:pt x="419903" y="731520"/>
                    <a:pt x="88095" y="449424"/>
                    <a:pt x="11357" y="74415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A42700"/>
                </a:gs>
                <a:gs pos="74000">
                  <a:srgbClr val="A42700"/>
                </a:gs>
                <a:gs pos="83000">
                  <a:srgbClr val="A42700"/>
                </a:gs>
                <a:gs pos="100000">
                  <a:srgbClr val="A4270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Freeform 40"/>
            <p:cNvSpPr/>
            <p:nvPr/>
          </p:nvSpPr>
          <p:spPr>
            <a:xfrm>
              <a:off x="1287210" y="3038047"/>
              <a:ext cx="529509" cy="720374"/>
            </a:xfrm>
            <a:custGeom>
              <a:avLst/>
              <a:gdLst>
                <a:gd name="connsiteX0" fmla="*/ 9218 w 529509"/>
                <a:gd name="connsiteY0" fmla="*/ 0 h 720374"/>
                <a:gd name="connsiteX1" fmla="*/ 125033 w 529509"/>
                <a:gd name="connsiteY1" fmla="*/ 0 h 720374"/>
                <a:gd name="connsiteX2" fmla="*/ 102586 w 529509"/>
                <a:gd name="connsiteY2" fmla="*/ 72310 h 720374"/>
                <a:gd name="connsiteX3" fmla="*/ 91440 w 529509"/>
                <a:gd name="connsiteY3" fmla="*/ 182880 h 720374"/>
                <a:gd name="connsiteX4" fmla="*/ 426524 w 529509"/>
                <a:gd name="connsiteY4" fmla="*/ 688405 h 720374"/>
                <a:gd name="connsiteX5" fmla="*/ 529509 w 529509"/>
                <a:gd name="connsiteY5" fmla="*/ 720374 h 720374"/>
                <a:gd name="connsiteX6" fmla="*/ 511082 w 529509"/>
                <a:gd name="connsiteY6" fmla="*/ 718516 h 720374"/>
                <a:gd name="connsiteX7" fmla="*/ 0 w 529509"/>
                <a:gd name="connsiteY7" fmla="*/ 91440 h 720374"/>
                <a:gd name="connsiteX8" fmla="*/ 9218 w 529509"/>
                <a:gd name="connsiteY8" fmla="*/ 0 h 720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9509" h="720374">
                  <a:moveTo>
                    <a:pt x="9218" y="0"/>
                  </a:moveTo>
                  <a:lnTo>
                    <a:pt x="125033" y="0"/>
                  </a:lnTo>
                  <a:lnTo>
                    <a:pt x="102586" y="72310"/>
                  </a:lnTo>
                  <a:cubicBezTo>
                    <a:pt x="95278" y="108025"/>
                    <a:pt x="91440" y="145004"/>
                    <a:pt x="91440" y="182880"/>
                  </a:cubicBezTo>
                  <a:cubicBezTo>
                    <a:pt x="91440" y="410135"/>
                    <a:pt x="229609" y="605117"/>
                    <a:pt x="426524" y="688405"/>
                  </a:cubicBezTo>
                  <a:lnTo>
                    <a:pt x="529509" y="720374"/>
                  </a:lnTo>
                  <a:lnTo>
                    <a:pt x="511082" y="718516"/>
                  </a:lnTo>
                  <a:cubicBezTo>
                    <a:pt x="219408" y="658831"/>
                    <a:pt x="0" y="400758"/>
                    <a:pt x="0" y="91440"/>
                  </a:cubicBezTo>
                  <a:lnTo>
                    <a:pt x="9218" y="0"/>
                  </a:lnTo>
                  <a:close/>
                </a:path>
              </a:pathLst>
            </a:custGeom>
            <a:ln>
              <a:noFill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Freeform 41"/>
            <p:cNvSpPr/>
            <p:nvPr/>
          </p:nvSpPr>
          <p:spPr>
            <a:xfrm>
              <a:off x="9718822" y="3038047"/>
              <a:ext cx="529508" cy="720374"/>
            </a:xfrm>
            <a:custGeom>
              <a:avLst/>
              <a:gdLst>
                <a:gd name="connsiteX0" fmla="*/ 404475 w 529508"/>
                <a:gd name="connsiteY0" fmla="*/ 0 h 720374"/>
                <a:gd name="connsiteX1" fmla="*/ 520290 w 529508"/>
                <a:gd name="connsiteY1" fmla="*/ 0 h 720374"/>
                <a:gd name="connsiteX2" fmla="*/ 529508 w 529508"/>
                <a:gd name="connsiteY2" fmla="*/ 91440 h 720374"/>
                <a:gd name="connsiteX3" fmla="*/ 18426 w 529508"/>
                <a:gd name="connsiteY3" fmla="*/ 718516 h 720374"/>
                <a:gd name="connsiteX4" fmla="*/ 0 w 529508"/>
                <a:gd name="connsiteY4" fmla="*/ 720374 h 720374"/>
                <a:gd name="connsiteX5" fmla="*/ 102984 w 529508"/>
                <a:gd name="connsiteY5" fmla="*/ 688405 h 720374"/>
                <a:gd name="connsiteX6" fmla="*/ 438068 w 529508"/>
                <a:gd name="connsiteY6" fmla="*/ 182880 h 720374"/>
                <a:gd name="connsiteX7" fmla="*/ 426922 w 529508"/>
                <a:gd name="connsiteY7" fmla="*/ 72310 h 720374"/>
                <a:gd name="connsiteX8" fmla="*/ 404475 w 529508"/>
                <a:gd name="connsiteY8" fmla="*/ 0 h 720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9508" h="720374">
                  <a:moveTo>
                    <a:pt x="404475" y="0"/>
                  </a:moveTo>
                  <a:lnTo>
                    <a:pt x="520290" y="0"/>
                  </a:lnTo>
                  <a:lnTo>
                    <a:pt x="529508" y="91440"/>
                  </a:lnTo>
                  <a:cubicBezTo>
                    <a:pt x="529508" y="400758"/>
                    <a:pt x="310100" y="658831"/>
                    <a:pt x="18426" y="718516"/>
                  </a:cubicBezTo>
                  <a:lnTo>
                    <a:pt x="0" y="720374"/>
                  </a:lnTo>
                  <a:lnTo>
                    <a:pt x="102984" y="688405"/>
                  </a:lnTo>
                  <a:cubicBezTo>
                    <a:pt x="299899" y="605117"/>
                    <a:pt x="438068" y="410135"/>
                    <a:pt x="438068" y="182880"/>
                  </a:cubicBezTo>
                  <a:cubicBezTo>
                    <a:pt x="438068" y="145004"/>
                    <a:pt x="434230" y="108025"/>
                    <a:pt x="426922" y="72310"/>
                  </a:cubicBezTo>
                  <a:lnTo>
                    <a:pt x="404475" y="0"/>
                  </a:lnTo>
                  <a:close/>
                </a:path>
              </a:pathLst>
            </a:custGeom>
            <a:ln>
              <a:noFill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Freeform 42"/>
            <p:cNvSpPr/>
            <p:nvPr/>
          </p:nvSpPr>
          <p:spPr>
            <a:xfrm>
              <a:off x="9608250" y="3038047"/>
              <a:ext cx="817597" cy="731520"/>
            </a:xfrm>
            <a:custGeom>
              <a:avLst/>
              <a:gdLst>
                <a:gd name="connsiteX0" fmla="*/ 731520 w 817597"/>
                <a:gd name="connsiteY0" fmla="*/ 0 h 731520"/>
                <a:gd name="connsiteX1" fmla="*/ 817597 w 817597"/>
                <a:gd name="connsiteY1" fmla="*/ 0 h 731520"/>
                <a:gd name="connsiteX2" fmla="*/ 806240 w 817597"/>
                <a:gd name="connsiteY2" fmla="*/ 74415 h 731520"/>
                <a:gd name="connsiteX3" fmla="*/ 0 w 817597"/>
                <a:gd name="connsiteY3" fmla="*/ 731520 h 731520"/>
                <a:gd name="connsiteX4" fmla="*/ 731520 w 817597"/>
                <a:gd name="connsiteY4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597" h="731520">
                  <a:moveTo>
                    <a:pt x="731520" y="0"/>
                  </a:moveTo>
                  <a:lnTo>
                    <a:pt x="817597" y="0"/>
                  </a:lnTo>
                  <a:lnTo>
                    <a:pt x="806240" y="74415"/>
                  </a:lnTo>
                  <a:cubicBezTo>
                    <a:pt x="729502" y="449424"/>
                    <a:pt x="397694" y="731520"/>
                    <a:pt x="0" y="731520"/>
                  </a:cubicBezTo>
                  <a:cubicBezTo>
                    <a:pt x="404007" y="731520"/>
                    <a:pt x="731520" y="404007"/>
                    <a:pt x="731520" y="0"/>
                  </a:cubicBezTo>
                  <a:close/>
                </a:path>
              </a:pathLst>
            </a:custGeom>
            <a:gradFill>
              <a:gsLst>
                <a:gs pos="0">
                  <a:srgbClr val="A42700"/>
                </a:gs>
                <a:gs pos="74000">
                  <a:srgbClr val="A42700"/>
                </a:gs>
                <a:gs pos="83000">
                  <a:srgbClr val="A42700"/>
                </a:gs>
                <a:gs pos="100000">
                  <a:srgbClr val="A4270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Freeform 43"/>
            <p:cNvSpPr/>
            <p:nvPr/>
          </p:nvSpPr>
          <p:spPr>
            <a:xfrm>
              <a:off x="1816719" y="3758421"/>
              <a:ext cx="110571" cy="11146"/>
            </a:xfrm>
            <a:custGeom>
              <a:avLst/>
              <a:gdLst>
                <a:gd name="connsiteX0" fmla="*/ 0 w 110571"/>
                <a:gd name="connsiteY0" fmla="*/ 0 h 11146"/>
                <a:gd name="connsiteX1" fmla="*/ 110571 w 110571"/>
                <a:gd name="connsiteY1" fmla="*/ 11146 h 11146"/>
                <a:gd name="connsiteX2" fmla="*/ 1 w 110571"/>
                <a:gd name="connsiteY2" fmla="*/ 0 h 11146"/>
                <a:gd name="connsiteX3" fmla="*/ 0 w 110571"/>
                <a:gd name="connsiteY3" fmla="*/ 0 h 1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571" h="11146">
                  <a:moveTo>
                    <a:pt x="0" y="0"/>
                  </a:moveTo>
                  <a:lnTo>
                    <a:pt x="110571" y="11146"/>
                  </a:lnTo>
                  <a:cubicBezTo>
                    <a:pt x="72695" y="11146"/>
                    <a:pt x="35716" y="7308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Freeform 44"/>
            <p:cNvSpPr/>
            <p:nvPr/>
          </p:nvSpPr>
          <p:spPr>
            <a:xfrm>
              <a:off x="9608250" y="3758421"/>
              <a:ext cx="110572" cy="11146"/>
            </a:xfrm>
            <a:custGeom>
              <a:avLst/>
              <a:gdLst>
                <a:gd name="connsiteX0" fmla="*/ 110572 w 110572"/>
                <a:gd name="connsiteY0" fmla="*/ 0 h 11146"/>
                <a:gd name="connsiteX1" fmla="*/ 110570 w 110572"/>
                <a:gd name="connsiteY1" fmla="*/ 0 h 11146"/>
                <a:gd name="connsiteX2" fmla="*/ 0 w 110572"/>
                <a:gd name="connsiteY2" fmla="*/ 11146 h 11146"/>
                <a:gd name="connsiteX3" fmla="*/ 110572 w 110572"/>
                <a:gd name="connsiteY3" fmla="*/ 0 h 1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572" h="11146">
                  <a:moveTo>
                    <a:pt x="110572" y="0"/>
                  </a:moveTo>
                  <a:lnTo>
                    <a:pt x="110570" y="0"/>
                  </a:lnTo>
                  <a:cubicBezTo>
                    <a:pt x="74855" y="7308"/>
                    <a:pt x="37876" y="11146"/>
                    <a:pt x="0" y="11146"/>
                  </a:cubicBezTo>
                  <a:lnTo>
                    <a:pt x="110572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Freeform 45"/>
            <p:cNvSpPr/>
            <p:nvPr/>
          </p:nvSpPr>
          <p:spPr>
            <a:xfrm>
              <a:off x="1003679" y="3038047"/>
              <a:ext cx="923611" cy="731520"/>
            </a:xfrm>
            <a:custGeom>
              <a:avLst/>
              <a:gdLst>
                <a:gd name="connsiteX0" fmla="*/ 0 w 923611"/>
                <a:gd name="connsiteY0" fmla="*/ 0 h 731520"/>
                <a:gd name="connsiteX1" fmla="*/ 106014 w 923611"/>
                <a:gd name="connsiteY1" fmla="*/ 0 h 731520"/>
                <a:gd name="connsiteX2" fmla="*/ 117371 w 923611"/>
                <a:gd name="connsiteY2" fmla="*/ 74415 h 731520"/>
                <a:gd name="connsiteX3" fmla="*/ 923611 w 923611"/>
                <a:gd name="connsiteY3" fmla="*/ 731520 h 731520"/>
                <a:gd name="connsiteX4" fmla="*/ 856017 w 923611"/>
                <a:gd name="connsiteY4" fmla="*/ 731520 h 731520"/>
                <a:gd name="connsiteX5" fmla="*/ 5900 w 923611"/>
                <a:gd name="connsiteY5" fmla="*/ 38654 h 731520"/>
                <a:gd name="connsiteX6" fmla="*/ 0 w 923611"/>
                <a:gd name="connsiteY6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3611" h="731520">
                  <a:moveTo>
                    <a:pt x="0" y="0"/>
                  </a:moveTo>
                  <a:lnTo>
                    <a:pt x="106014" y="0"/>
                  </a:lnTo>
                  <a:lnTo>
                    <a:pt x="117371" y="74415"/>
                  </a:lnTo>
                  <a:cubicBezTo>
                    <a:pt x="194109" y="449424"/>
                    <a:pt x="525917" y="731520"/>
                    <a:pt x="923611" y="731520"/>
                  </a:cubicBezTo>
                  <a:lnTo>
                    <a:pt x="856017" y="731520"/>
                  </a:lnTo>
                  <a:cubicBezTo>
                    <a:pt x="436679" y="731520"/>
                    <a:pt x="86814" y="434072"/>
                    <a:pt x="5900" y="38654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chemeClr val="accent6">
                    <a:lumMod val="50000"/>
                  </a:schemeClr>
                </a:gs>
                <a:gs pos="74000">
                  <a:schemeClr val="accent6">
                    <a:lumMod val="50000"/>
                  </a:schemeClr>
                </a:gs>
                <a:gs pos="83000">
                  <a:schemeClr val="accent6">
                    <a:lumMod val="50000"/>
                  </a:schemeClr>
                </a:gs>
                <a:gs pos="100000">
                  <a:schemeClr val="accent6">
                    <a:lumMod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Freeform 46"/>
            <p:cNvSpPr/>
            <p:nvPr/>
          </p:nvSpPr>
          <p:spPr>
            <a:xfrm>
              <a:off x="1195770" y="3038047"/>
              <a:ext cx="731520" cy="731520"/>
            </a:xfrm>
            <a:custGeom>
              <a:avLst/>
              <a:gdLst>
                <a:gd name="connsiteX0" fmla="*/ 0 w 731520"/>
                <a:gd name="connsiteY0" fmla="*/ 0 h 731520"/>
                <a:gd name="connsiteX1" fmla="*/ 100658 w 731520"/>
                <a:gd name="connsiteY1" fmla="*/ 0 h 731520"/>
                <a:gd name="connsiteX2" fmla="*/ 91440 w 731520"/>
                <a:gd name="connsiteY2" fmla="*/ 91440 h 731520"/>
                <a:gd name="connsiteX3" fmla="*/ 602522 w 731520"/>
                <a:gd name="connsiteY3" fmla="*/ 718516 h 731520"/>
                <a:gd name="connsiteX4" fmla="*/ 620949 w 731520"/>
                <a:gd name="connsiteY4" fmla="*/ 720374 h 731520"/>
                <a:gd name="connsiteX5" fmla="*/ 620950 w 731520"/>
                <a:gd name="connsiteY5" fmla="*/ 720374 h 731520"/>
                <a:gd name="connsiteX6" fmla="*/ 731520 w 731520"/>
                <a:gd name="connsiteY6" fmla="*/ 731520 h 731520"/>
                <a:gd name="connsiteX7" fmla="*/ 0 w 731520"/>
                <a:gd name="connsiteY7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0" h="731520">
                  <a:moveTo>
                    <a:pt x="0" y="0"/>
                  </a:moveTo>
                  <a:lnTo>
                    <a:pt x="100658" y="0"/>
                  </a:lnTo>
                  <a:lnTo>
                    <a:pt x="91440" y="91440"/>
                  </a:lnTo>
                  <a:cubicBezTo>
                    <a:pt x="91440" y="400758"/>
                    <a:pt x="310848" y="658831"/>
                    <a:pt x="602522" y="718516"/>
                  </a:cubicBezTo>
                  <a:lnTo>
                    <a:pt x="620949" y="720374"/>
                  </a:lnTo>
                  <a:lnTo>
                    <a:pt x="620950" y="720374"/>
                  </a:lnTo>
                  <a:cubicBezTo>
                    <a:pt x="656665" y="727682"/>
                    <a:pt x="693644" y="731520"/>
                    <a:pt x="731520" y="731520"/>
                  </a:cubicBezTo>
                  <a:cubicBezTo>
                    <a:pt x="327513" y="731520"/>
                    <a:pt x="0" y="404007"/>
                    <a:pt x="0" y="0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Freeform 47"/>
            <p:cNvSpPr/>
            <p:nvPr/>
          </p:nvSpPr>
          <p:spPr>
            <a:xfrm>
              <a:off x="1378650" y="3038047"/>
              <a:ext cx="8778240" cy="731520"/>
            </a:xfrm>
            <a:custGeom>
              <a:avLst/>
              <a:gdLst>
                <a:gd name="connsiteX0" fmla="*/ 33593 w 8778240"/>
                <a:gd name="connsiteY0" fmla="*/ 0 h 731520"/>
                <a:gd name="connsiteX1" fmla="*/ 8744647 w 8778240"/>
                <a:gd name="connsiteY1" fmla="*/ 0 h 731520"/>
                <a:gd name="connsiteX2" fmla="*/ 8767094 w 8778240"/>
                <a:gd name="connsiteY2" fmla="*/ 72310 h 731520"/>
                <a:gd name="connsiteX3" fmla="*/ 8778240 w 8778240"/>
                <a:gd name="connsiteY3" fmla="*/ 182880 h 731520"/>
                <a:gd name="connsiteX4" fmla="*/ 8443156 w 8778240"/>
                <a:gd name="connsiteY4" fmla="*/ 688405 h 731520"/>
                <a:gd name="connsiteX5" fmla="*/ 8340172 w 8778240"/>
                <a:gd name="connsiteY5" fmla="*/ 720374 h 731520"/>
                <a:gd name="connsiteX6" fmla="*/ 8229600 w 8778240"/>
                <a:gd name="connsiteY6" fmla="*/ 731520 h 731520"/>
                <a:gd name="connsiteX7" fmla="*/ 548640 w 8778240"/>
                <a:gd name="connsiteY7" fmla="*/ 731520 h 731520"/>
                <a:gd name="connsiteX8" fmla="*/ 438069 w 8778240"/>
                <a:gd name="connsiteY8" fmla="*/ 720374 h 731520"/>
                <a:gd name="connsiteX9" fmla="*/ 335084 w 8778240"/>
                <a:gd name="connsiteY9" fmla="*/ 688405 h 731520"/>
                <a:gd name="connsiteX10" fmla="*/ 0 w 8778240"/>
                <a:gd name="connsiteY10" fmla="*/ 182880 h 731520"/>
                <a:gd name="connsiteX11" fmla="*/ 11146 w 8778240"/>
                <a:gd name="connsiteY11" fmla="*/ 72310 h 731520"/>
                <a:gd name="connsiteX12" fmla="*/ 33593 w 8778240"/>
                <a:gd name="connsiteY12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78240" h="731520">
                  <a:moveTo>
                    <a:pt x="33593" y="0"/>
                  </a:moveTo>
                  <a:lnTo>
                    <a:pt x="8744647" y="0"/>
                  </a:lnTo>
                  <a:lnTo>
                    <a:pt x="8767094" y="72310"/>
                  </a:lnTo>
                  <a:cubicBezTo>
                    <a:pt x="8774402" y="108025"/>
                    <a:pt x="8778240" y="145004"/>
                    <a:pt x="8778240" y="182880"/>
                  </a:cubicBezTo>
                  <a:cubicBezTo>
                    <a:pt x="8778240" y="410135"/>
                    <a:pt x="8640071" y="605117"/>
                    <a:pt x="8443156" y="688405"/>
                  </a:cubicBezTo>
                  <a:lnTo>
                    <a:pt x="8340172" y="720374"/>
                  </a:lnTo>
                  <a:lnTo>
                    <a:pt x="8229600" y="731520"/>
                  </a:lnTo>
                  <a:lnTo>
                    <a:pt x="548640" y="731520"/>
                  </a:lnTo>
                  <a:lnTo>
                    <a:pt x="438069" y="720374"/>
                  </a:lnTo>
                  <a:lnTo>
                    <a:pt x="335084" y="688405"/>
                  </a:lnTo>
                  <a:cubicBezTo>
                    <a:pt x="138169" y="605117"/>
                    <a:pt x="0" y="410135"/>
                    <a:pt x="0" y="182880"/>
                  </a:cubicBezTo>
                  <a:cubicBezTo>
                    <a:pt x="0" y="145004"/>
                    <a:pt x="3838" y="108025"/>
                    <a:pt x="11146" y="72310"/>
                  </a:cubicBezTo>
                  <a:lnTo>
                    <a:pt x="33593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Freeform 48"/>
            <p:cNvSpPr/>
            <p:nvPr/>
          </p:nvSpPr>
          <p:spPr>
            <a:xfrm>
              <a:off x="9608250" y="3038047"/>
              <a:ext cx="731520" cy="731520"/>
            </a:xfrm>
            <a:custGeom>
              <a:avLst/>
              <a:gdLst>
                <a:gd name="connsiteX0" fmla="*/ 630862 w 731520"/>
                <a:gd name="connsiteY0" fmla="*/ 0 h 731520"/>
                <a:gd name="connsiteX1" fmla="*/ 731520 w 731520"/>
                <a:gd name="connsiteY1" fmla="*/ 0 h 731520"/>
                <a:gd name="connsiteX2" fmla="*/ 0 w 731520"/>
                <a:gd name="connsiteY2" fmla="*/ 731520 h 731520"/>
                <a:gd name="connsiteX3" fmla="*/ 110570 w 731520"/>
                <a:gd name="connsiteY3" fmla="*/ 720374 h 731520"/>
                <a:gd name="connsiteX4" fmla="*/ 110572 w 731520"/>
                <a:gd name="connsiteY4" fmla="*/ 720374 h 731520"/>
                <a:gd name="connsiteX5" fmla="*/ 128998 w 731520"/>
                <a:gd name="connsiteY5" fmla="*/ 718516 h 731520"/>
                <a:gd name="connsiteX6" fmla="*/ 640080 w 731520"/>
                <a:gd name="connsiteY6" fmla="*/ 91440 h 731520"/>
                <a:gd name="connsiteX7" fmla="*/ 630862 w 731520"/>
                <a:gd name="connsiteY7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0" h="731520">
                  <a:moveTo>
                    <a:pt x="630862" y="0"/>
                  </a:moveTo>
                  <a:lnTo>
                    <a:pt x="731520" y="0"/>
                  </a:lnTo>
                  <a:cubicBezTo>
                    <a:pt x="731520" y="404007"/>
                    <a:pt x="404007" y="731520"/>
                    <a:pt x="0" y="731520"/>
                  </a:cubicBezTo>
                  <a:cubicBezTo>
                    <a:pt x="37876" y="731520"/>
                    <a:pt x="74855" y="727682"/>
                    <a:pt x="110570" y="720374"/>
                  </a:cubicBezTo>
                  <a:lnTo>
                    <a:pt x="110572" y="720374"/>
                  </a:lnTo>
                  <a:lnTo>
                    <a:pt x="128998" y="718516"/>
                  </a:lnTo>
                  <a:cubicBezTo>
                    <a:pt x="420672" y="658831"/>
                    <a:pt x="640080" y="400758"/>
                    <a:pt x="640080" y="91440"/>
                  </a:cubicBezTo>
                  <a:lnTo>
                    <a:pt x="630862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Freeform 49"/>
            <p:cNvSpPr/>
            <p:nvPr/>
          </p:nvSpPr>
          <p:spPr>
            <a:xfrm>
              <a:off x="9608250" y="3038047"/>
              <a:ext cx="923612" cy="731520"/>
            </a:xfrm>
            <a:custGeom>
              <a:avLst/>
              <a:gdLst>
                <a:gd name="connsiteX0" fmla="*/ 817597 w 923612"/>
                <a:gd name="connsiteY0" fmla="*/ 0 h 731520"/>
                <a:gd name="connsiteX1" fmla="*/ 923612 w 923612"/>
                <a:gd name="connsiteY1" fmla="*/ 0 h 731520"/>
                <a:gd name="connsiteX2" fmla="*/ 917712 w 923612"/>
                <a:gd name="connsiteY2" fmla="*/ 38654 h 731520"/>
                <a:gd name="connsiteX3" fmla="*/ 67595 w 923612"/>
                <a:gd name="connsiteY3" fmla="*/ 731520 h 731520"/>
                <a:gd name="connsiteX4" fmla="*/ 0 w 923612"/>
                <a:gd name="connsiteY4" fmla="*/ 731520 h 731520"/>
                <a:gd name="connsiteX5" fmla="*/ 806240 w 923612"/>
                <a:gd name="connsiteY5" fmla="*/ 74415 h 731520"/>
                <a:gd name="connsiteX6" fmla="*/ 817597 w 923612"/>
                <a:gd name="connsiteY6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3612" h="731520">
                  <a:moveTo>
                    <a:pt x="817597" y="0"/>
                  </a:moveTo>
                  <a:lnTo>
                    <a:pt x="923612" y="0"/>
                  </a:lnTo>
                  <a:lnTo>
                    <a:pt x="917712" y="38654"/>
                  </a:lnTo>
                  <a:cubicBezTo>
                    <a:pt x="836798" y="434072"/>
                    <a:pt x="486933" y="731520"/>
                    <a:pt x="67595" y="731520"/>
                  </a:cubicBezTo>
                  <a:lnTo>
                    <a:pt x="0" y="731520"/>
                  </a:lnTo>
                  <a:cubicBezTo>
                    <a:pt x="397694" y="731520"/>
                    <a:pt x="729502" y="449424"/>
                    <a:pt x="806240" y="74415"/>
                  </a:cubicBezTo>
                  <a:lnTo>
                    <a:pt x="817597" y="0"/>
                  </a:lnTo>
                  <a:close/>
                </a:path>
              </a:pathLst>
            </a:custGeom>
            <a:gradFill>
              <a:gsLst>
                <a:gs pos="0">
                  <a:schemeClr val="accent6">
                    <a:lumMod val="50000"/>
                  </a:schemeClr>
                </a:gs>
                <a:gs pos="74000">
                  <a:schemeClr val="accent6">
                    <a:lumMod val="50000"/>
                  </a:schemeClr>
                </a:gs>
                <a:gs pos="83000">
                  <a:schemeClr val="accent6">
                    <a:lumMod val="50000"/>
                  </a:schemeClr>
                </a:gs>
                <a:gs pos="100000">
                  <a:schemeClr val="accent6">
                    <a:lumMod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1537729" y="-11575"/>
            <a:ext cx="92922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নিচের</a:t>
            </a:r>
            <a:r>
              <a:rPr lang="en-US" sz="48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4800" b="1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ছবিগুলো</a:t>
            </a:r>
            <a:r>
              <a:rPr lang="en-US" sz="48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4800" b="1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লক্ষ্য</a:t>
            </a:r>
            <a:r>
              <a:rPr lang="en-US" sz="48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4800" b="1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কর</a:t>
            </a:r>
            <a:endParaRPr lang="en-US" sz="4800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438669" y="6186680"/>
            <a:ext cx="11192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err="1" smtClean="0">
                <a:latin typeface="NikoshBAN" pitchFamily="2" charset="0"/>
                <a:cs typeface="NikoshBAN" pitchFamily="2" charset="0"/>
              </a:rPr>
              <a:t>সরকার</a:t>
            </a:r>
            <a:endParaRPr lang="en-US" sz="2800" dirty="0">
              <a:latin typeface="NikoshBAN" pitchFamily="2" charset="0"/>
              <a:cs typeface="NikoshBAN" pitchFamily="2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833891" y="6212038"/>
            <a:ext cx="65903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bn-BD" sz="2800" dirty="0" smtClean="0">
                <a:latin typeface="NikoshBAN" pitchFamily="2" charset="0"/>
                <a:cs typeface="NikoshBAN" pitchFamily="2" charset="0"/>
              </a:rPr>
              <a:t>ব্যবসা</a:t>
            </a:r>
            <a:r>
              <a:rPr lang="en-US" sz="2800" dirty="0" err="1" smtClean="0">
                <a:latin typeface="NikoshBAN" pitchFamily="2" charset="0"/>
                <a:cs typeface="NikoshBAN" pitchFamily="2" charset="0"/>
              </a:rPr>
              <a:t>য়ের</a:t>
            </a:r>
            <a:r>
              <a:rPr lang="en-US" sz="2800" dirty="0" smtClean="0">
                <a:latin typeface="NikoshBAN" pitchFamily="2" charset="0"/>
                <a:cs typeface="NikoshBAN" pitchFamily="2" charset="0"/>
              </a:rPr>
              <a:t> </a:t>
            </a:r>
            <a:r>
              <a:rPr lang="en-US" sz="2800" dirty="0" err="1" smtClean="0">
                <a:latin typeface="NikoshBAN" pitchFamily="2" charset="0"/>
                <a:cs typeface="NikoshBAN" pitchFamily="2" charset="0"/>
              </a:rPr>
              <a:t>মালিক</a:t>
            </a:r>
            <a:r>
              <a:rPr lang="en-US" sz="2800" dirty="0" smtClean="0">
                <a:latin typeface="NikoshBAN" pitchFamily="2" charset="0"/>
                <a:cs typeface="NikoshBAN" pitchFamily="2" charset="0"/>
              </a:rPr>
              <a:t> </a:t>
            </a:r>
            <a:r>
              <a:rPr lang="en-US" sz="2800" dirty="0" err="1" smtClean="0">
                <a:latin typeface="NikoshBAN" pitchFamily="2" charset="0"/>
                <a:cs typeface="NikoshBAN" pitchFamily="2" charset="0"/>
              </a:rPr>
              <a:t>সরকার</a:t>
            </a:r>
            <a:r>
              <a:rPr lang="en-US" sz="2800" dirty="0" smtClean="0">
                <a:latin typeface="NikoshBAN" pitchFamily="2" charset="0"/>
                <a:cs typeface="NikoshBAN" pitchFamily="2" charset="0"/>
              </a:rPr>
              <a:t> </a:t>
            </a:r>
            <a:r>
              <a:rPr lang="en-US" sz="2800" dirty="0" err="1" smtClean="0">
                <a:latin typeface="NikoshBAN" pitchFamily="2" charset="0"/>
                <a:cs typeface="NikoshBAN" pitchFamily="2" charset="0"/>
              </a:rPr>
              <a:t>হলে</a:t>
            </a:r>
            <a:r>
              <a:rPr lang="en-US" sz="2800" dirty="0" smtClean="0">
                <a:latin typeface="NikoshBAN" pitchFamily="2" charset="0"/>
                <a:cs typeface="NikoshBAN" pitchFamily="2" charset="0"/>
              </a:rPr>
              <a:t> </a:t>
            </a:r>
            <a:r>
              <a:rPr lang="en-US" sz="2800" dirty="0" err="1" smtClean="0">
                <a:latin typeface="NikoshBAN" pitchFamily="2" charset="0"/>
                <a:cs typeface="NikoshBAN" pitchFamily="2" charset="0"/>
              </a:rPr>
              <a:t>তাকে</a:t>
            </a:r>
            <a:r>
              <a:rPr lang="en-US" sz="2800" dirty="0" smtClean="0">
                <a:latin typeface="NikoshBAN" pitchFamily="2" charset="0"/>
                <a:cs typeface="NikoshBAN" pitchFamily="2" charset="0"/>
              </a:rPr>
              <a:t> </a:t>
            </a:r>
            <a:r>
              <a:rPr lang="en-US" sz="2800" dirty="0" err="1" smtClean="0">
                <a:latin typeface="NikoshBAN" pitchFamily="2" charset="0"/>
                <a:cs typeface="NikoshBAN" pitchFamily="2" charset="0"/>
              </a:rPr>
              <a:t>কি</a:t>
            </a:r>
            <a:r>
              <a:rPr lang="en-US" sz="2800" dirty="0" smtClean="0">
                <a:latin typeface="NikoshBAN" pitchFamily="2" charset="0"/>
                <a:cs typeface="NikoshBAN" pitchFamily="2" charset="0"/>
              </a:rPr>
              <a:t> </a:t>
            </a:r>
            <a:r>
              <a:rPr lang="en-US" sz="2800" dirty="0" err="1" smtClean="0">
                <a:latin typeface="NikoshBAN" pitchFamily="2" charset="0"/>
                <a:cs typeface="NikoshBAN" pitchFamily="2" charset="0"/>
              </a:rPr>
              <a:t>ব্যবসায়</a:t>
            </a:r>
            <a:r>
              <a:rPr lang="en-US" sz="2800" dirty="0" smtClean="0">
                <a:latin typeface="NikoshBAN" pitchFamily="2" charset="0"/>
                <a:cs typeface="NikoshBAN" pitchFamily="2" charset="0"/>
              </a:rPr>
              <a:t> </a:t>
            </a:r>
            <a:r>
              <a:rPr lang="en-US" sz="2800" dirty="0" err="1" smtClean="0">
                <a:latin typeface="NikoshBAN" pitchFamily="2" charset="0"/>
                <a:cs typeface="NikoshBAN" pitchFamily="2" charset="0"/>
              </a:rPr>
              <a:t>বলা</a:t>
            </a:r>
            <a:r>
              <a:rPr lang="en-US" sz="2800" dirty="0" smtClean="0">
                <a:latin typeface="NikoshBAN" pitchFamily="2" charset="0"/>
                <a:cs typeface="NikoshBAN" pitchFamily="2" charset="0"/>
              </a:rPr>
              <a:t> </a:t>
            </a:r>
            <a:r>
              <a:rPr lang="en-US" sz="2800" dirty="0" err="1" smtClean="0">
                <a:latin typeface="NikoshBAN" pitchFamily="2" charset="0"/>
                <a:cs typeface="NikoshBAN" pitchFamily="2" charset="0"/>
              </a:rPr>
              <a:t>হয়</a:t>
            </a:r>
            <a:r>
              <a:rPr lang="en-US" sz="2800" dirty="0" smtClean="0">
                <a:latin typeface="NikoshBAN" pitchFamily="2" charset="0"/>
                <a:cs typeface="NikoshBAN" pitchFamily="2" charset="0"/>
              </a:rPr>
              <a:t>?</a:t>
            </a:r>
            <a:endParaRPr lang="en-US" sz="2800" dirty="0">
              <a:latin typeface="NikoshBAN" pitchFamily="2" charset="0"/>
              <a:cs typeface="NikoshBAN" pitchFamily="2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420749" y="6205153"/>
            <a:ext cx="31551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err="1" smtClean="0">
                <a:latin typeface="NikoshBAN" pitchFamily="2" charset="0"/>
                <a:cs typeface="NikoshBAN" pitchFamily="2" charset="0"/>
              </a:rPr>
              <a:t>সরকারি</a:t>
            </a:r>
            <a:r>
              <a:rPr lang="en-US" sz="2800" dirty="0" smtClean="0">
                <a:latin typeface="NikoshBAN" pitchFamily="2" charset="0"/>
                <a:cs typeface="NikoshBAN" pitchFamily="2" charset="0"/>
              </a:rPr>
              <a:t> </a:t>
            </a:r>
            <a:r>
              <a:rPr lang="en-US" sz="2800" dirty="0" err="1" smtClean="0">
                <a:latin typeface="NikoshBAN" pitchFamily="2" charset="0"/>
                <a:cs typeface="NikoshBAN" pitchFamily="2" charset="0"/>
              </a:rPr>
              <a:t>বা</a:t>
            </a:r>
            <a:r>
              <a:rPr lang="en-US" sz="2800" dirty="0" smtClean="0">
                <a:latin typeface="NikoshBAN" pitchFamily="2" charset="0"/>
                <a:cs typeface="NikoshBAN" pitchFamily="2" charset="0"/>
              </a:rPr>
              <a:t> </a:t>
            </a:r>
            <a:r>
              <a:rPr lang="en-US" sz="2800" dirty="0" err="1" smtClean="0">
                <a:latin typeface="NikoshBAN" pitchFamily="2" charset="0"/>
                <a:cs typeface="NikoshBAN" pitchFamily="2" charset="0"/>
              </a:rPr>
              <a:t>রাষ্ট্রীয়</a:t>
            </a:r>
            <a:r>
              <a:rPr lang="en-US" sz="2800" dirty="0" smtClean="0">
                <a:latin typeface="NikoshBAN" pitchFamily="2" charset="0"/>
                <a:cs typeface="NikoshBAN" pitchFamily="2" charset="0"/>
              </a:rPr>
              <a:t> </a:t>
            </a:r>
            <a:r>
              <a:rPr lang="en-US" sz="2800" dirty="0" err="1" smtClean="0">
                <a:latin typeface="NikoshBAN" pitchFamily="2" charset="0"/>
                <a:cs typeface="NikoshBAN" pitchFamily="2" charset="0"/>
              </a:rPr>
              <a:t>ব্যবসায়</a:t>
            </a:r>
            <a:r>
              <a:rPr lang="en-US" sz="2800" dirty="0" smtClean="0">
                <a:latin typeface="NikoshBAN" pitchFamily="2" charset="0"/>
                <a:cs typeface="NikoshBAN" pitchFamily="2" charset="0"/>
              </a:rPr>
              <a:t>।</a:t>
            </a:r>
            <a:r>
              <a:rPr lang="bn-BD" sz="2800" dirty="0" smtClean="0">
                <a:latin typeface="NikoshBAN" pitchFamily="2" charset="0"/>
                <a:cs typeface="NikoshBAN" pitchFamily="2" charset="0"/>
              </a:rPr>
              <a:t>  </a:t>
            </a:r>
            <a:endParaRPr lang="en-US" sz="2800" dirty="0">
              <a:latin typeface="NikoshBAN" pitchFamily="2" charset="0"/>
              <a:cs typeface="NikoshBAN" pitchFamily="2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767735" y="6175105"/>
            <a:ext cx="66368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bn-BD" sz="2800" dirty="0" smtClean="0">
                <a:latin typeface="NikoshBAN" pitchFamily="2" charset="0"/>
                <a:cs typeface="NikoshBAN" pitchFamily="2" charset="0"/>
              </a:rPr>
              <a:t>চিত্র</a:t>
            </a:r>
            <a:r>
              <a:rPr lang="en-US" sz="2800" dirty="0" err="1" smtClean="0">
                <a:latin typeface="NikoshBAN" pitchFamily="2" charset="0"/>
                <a:cs typeface="NikoshBAN" pitchFamily="2" charset="0"/>
              </a:rPr>
              <a:t>গুলোতে</a:t>
            </a:r>
            <a:r>
              <a:rPr lang="bn-BD" sz="2800" dirty="0" smtClean="0">
                <a:latin typeface="NikoshBAN" pitchFamily="2" charset="0"/>
                <a:cs typeface="NikoshBAN" pitchFamily="2" charset="0"/>
              </a:rPr>
              <a:t> আমরা যে </a:t>
            </a:r>
            <a:r>
              <a:rPr lang="en-US" sz="2800" dirty="0" err="1" smtClean="0">
                <a:latin typeface="NikoshBAN" pitchFamily="2" charset="0"/>
                <a:cs typeface="NikoshBAN" pitchFamily="2" charset="0"/>
              </a:rPr>
              <a:t>ব্যবসায়</a:t>
            </a:r>
            <a:r>
              <a:rPr lang="bn-BD" sz="2800" dirty="0" smtClean="0">
                <a:latin typeface="NikoshBAN" pitchFamily="2" charset="0"/>
                <a:cs typeface="NikoshBAN" pitchFamily="2" charset="0"/>
              </a:rPr>
              <a:t>  দেখলাম, </a:t>
            </a:r>
            <a:r>
              <a:rPr lang="en-US" sz="2800" dirty="0" err="1" smtClean="0">
                <a:latin typeface="NikoshBAN" pitchFamily="2" charset="0"/>
                <a:cs typeface="NikoshBAN" pitchFamily="2" charset="0"/>
              </a:rPr>
              <a:t>তার</a:t>
            </a:r>
            <a:r>
              <a:rPr lang="en-US" sz="2800" dirty="0" smtClean="0">
                <a:latin typeface="NikoshBAN" pitchFamily="2" charset="0"/>
                <a:cs typeface="NikoshBAN" pitchFamily="2" charset="0"/>
              </a:rPr>
              <a:t> </a:t>
            </a:r>
            <a:r>
              <a:rPr lang="bn-BD" sz="2800" dirty="0" smtClean="0">
                <a:latin typeface="NikoshBAN" pitchFamily="2" charset="0"/>
                <a:cs typeface="NikoshBAN" pitchFamily="2" charset="0"/>
              </a:rPr>
              <a:t>মালিক</a:t>
            </a:r>
            <a:r>
              <a:rPr lang="en-US" sz="2800" dirty="0" smtClean="0">
                <a:latin typeface="NikoshBAN" pitchFamily="2" charset="0"/>
                <a:cs typeface="NikoshBAN" pitchFamily="2" charset="0"/>
              </a:rPr>
              <a:t> </a:t>
            </a:r>
            <a:r>
              <a:rPr lang="en-US" sz="2800" dirty="0" err="1" smtClean="0">
                <a:latin typeface="NikoshBAN" pitchFamily="2" charset="0"/>
                <a:cs typeface="NikoshBAN" pitchFamily="2" charset="0"/>
              </a:rPr>
              <a:t>কে</a:t>
            </a:r>
            <a:r>
              <a:rPr lang="en-US" sz="2800" dirty="0" smtClean="0">
                <a:latin typeface="NikoshBAN" pitchFamily="2" charset="0"/>
                <a:cs typeface="NikoshBAN" pitchFamily="2" charset="0"/>
              </a:rPr>
              <a:t>?</a:t>
            </a:r>
            <a:endParaRPr lang="en-US" sz="2800" dirty="0">
              <a:latin typeface="NikoshBAN" pitchFamily="2" charset="0"/>
              <a:cs typeface="NikoshBAN" pitchFamily="2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15477" y="6079918"/>
            <a:ext cx="1508699" cy="844872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15477" y="6079918"/>
            <a:ext cx="1508699" cy="844872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15477" y="6079918"/>
            <a:ext cx="1508699" cy="844872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15477" y="6079918"/>
            <a:ext cx="1508699" cy="844872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15477" y="6079918"/>
            <a:ext cx="1508699" cy="844872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15477" y="6079918"/>
            <a:ext cx="1508699" cy="844872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15477" y="6079918"/>
            <a:ext cx="1508699" cy="844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767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3" presetClass="entr" presetSubtype="1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3" presetClass="entr" presetSubtype="1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500"/>
                            </p:stCondLst>
                            <p:childTnLst>
                              <p:par>
                                <p:cTn id="17" presetID="3" presetClass="entr" presetSubtype="1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8000"/>
                            </p:stCondLst>
                            <p:childTnLst>
                              <p:par>
                                <p:cTn id="21" presetID="3" presetClass="entr" presetSubtype="1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7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7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5" dur="10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-.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9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2" dur="10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-.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4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7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51" dur="10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-.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3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7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7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6" dur="10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-.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68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29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73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-.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7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7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82" dur="1000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-.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4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7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2" presetID="7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4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5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2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97" dur="1000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-.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1000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9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29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04" dur="10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-.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10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06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8" presetID="7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0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2" presetID="2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13" dur="10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-.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10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15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7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3" presetID="7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6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7" presetID="2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8" dur="1000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-.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1000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30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1" grpId="1"/>
      <p:bldP spid="12" grpId="0"/>
      <p:bldP spid="12" grpId="1"/>
      <p:bldP spid="13" grpId="0"/>
      <p:bldP spid="14" grpId="0"/>
      <p:bldP spid="14" grpId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/>
          <p:cNvSpPr txBox="1">
            <a:spLocks/>
          </p:cNvSpPr>
          <p:nvPr/>
        </p:nvSpPr>
        <p:spPr>
          <a:xfrm>
            <a:off x="838200" y="2010301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আজকের</a:t>
            </a:r>
            <a:r>
              <a:rPr lang="en-US" sz="48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4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আলোচ্য</a:t>
            </a:r>
            <a:r>
              <a:rPr lang="en-US" sz="48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4800" dirty="0" err="1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বিষয়</a:t>
            </a:r>
            <a:r>
              <a:rPr lang="en-US" sz="48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endParaRPr lang="en-US" sz="4800" dirty="0">
              <a:solidFill>
                <a:schemeClr val="tx1">
                  <a:lumMod val="65000"/>
                  <a:lumOff val="3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4" name="Title 6"/>
          <p:cNvSpPr txBox="1">
            <a:spLocks/>
          </p:cNvSpPr>
          <p:nvPr/>
        </p:nvSpPr>
        <p:spPr>
          <a:xfrm>
            <a:off x="810985" y="3231623"/>
            <a:ext cx="1054281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 baseline="0">
                <a:solidFill>
                  <a:schemeClr val="tx1"/>
                </a:solidFill>
                <a:latin typeface="NikoshBAN" panose="02000000000000000000" pitchFamily="2" charset="0"/>
                <a:ea typeface="+mj-ea"/>
                <a:cs typeface="NikoshBAN" panose="02000000000000000000" pitchFamily="2" charset="0"/>
              </a:defRPr>
            </a:lvl1pPr>
          </a:lstStyle>
          <a:p>
            <a:pPr algn="ctr"/>
            <a:r>
              <a:rPr lang="en-US" sz="4400" dirty="0" smtClean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“</a:t>
            </a:r>
            <a:r>
              <a:rPr lang="en-US" sz="4400" dirty="0" err="1" smtClean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রাষ্ট্রীয়</a:t>
            </a:r>
            <a:r>
              <a:rPr lang="en-US" sz="4400" dirty="0" smtClean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4400" dirty="0" err="1" smtClean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ব্যবসায়</a:t>
            </a:r>
            <a:r>
              <a:rPr lang="en-US" sz="4400" dirty="0" smtClean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”</a:t>
            </a:r>
            <a:endParaRPr lang="en-US" sz="4400" dirty="0">
              <a:solidFill>
                <a:schemeClr val="accent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5" name="Group 4"/>
          <p:cNvGrpSpPr/>
          <p:nvPr/>
        </p:nvGrpSpPr>
        <p:grpSpPr>
          <a:xfrm flipV="1">
            <a:off x="0" y="0"/>
            <a:ext cx="12192000" cy="731520"/>
            <a:chOff x="1003679" y="3038047"/>
            <a:chExt cx="9528183" cy="731520"/>
          </a:xfrm>
        </p:grpSpPr>
        <p:sp>
          <p:nvSpPr>
            <p:cNvPr id="6" name="Freeform 5"/>
            <p:cNvSpPr/>
            <p:nvPr/>
          </p:nvSpPr>
          <p:spPr>
            <a:xfrm>
              <a:off x="1109693" y="3038047"/>
              <a:ext cx="817597" cy="731520"/>
            </a:xfrm>
            <a:custGeom>
              <a:avLst/>
              <a:gdLst>
                <a:gd name="connsiteX0" fmla="*/ 0 w 817597"/>
                <a:gd name="connsiteY0" fmla="*/ 0 h 731520"/>
                <a:gd name="connsiteX1" fmla="*/ 86077 w 817597"/>
                <a:gd name="connsiteY1" fmla="*/ 0 h 731520"/>
                <a:gd name="connsiteX2" fmla="*/ 817597 w 817597"/>
                <a:gd name="connsiteY2" fmla="*/ 731520 h 731520"/>
                <a:gd name="connsiteX3" fmla="*/ 11357 w 817597"/>
                <a:gd name="connsiteY3" fmla="*/ 74415 h 731520"/>
                <a:gd name="connsiteX4" fmla="*/ 0 w 817597"/>
                <a:gd name="connsiteY4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597" h="731520">
                  <a:moveTo>
                    <a:pt x="0" y="0"/>
                  </a:moveTo>
                  <a:lnTo>
                    <a:pt x="86077" y="0"/>
                  </a:lnTo>
                  <a:cubicBezTo>
                    <a:pt x="86077" y="404007"/>
                    <a:pt x="413590" y="731520"/>
                    <a:pt x="817597" y="731520"/>
                  </a:cubicBezTo>
                  <a:cubicBezTo>
                    <a:pt x="419903" y="731520"/>
                    <a:pt x="88095" y="449424"/>
                    <a:pt x="11357" y="74415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A42700"/>
                </a:gs>
                <a:gs pos="74000">
                  <a:srgbClr val="A42700"/>
                </a:gs>
                <a:gs pos="83000">
                  <a:srgbClr val="A42700"/>
                </a:gs>
                <a:gs pos="100000">
                  <a:srgbClr val="A4270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Freeform 6"/>
            <p:cNvSpPr/>
            <p:nvPr/>
          </p:nvSpPr>
          <p:spPr>
            <a:xfrm>
              <a:off x="1287210" y="3038047"/>
              <a:ext cx="529509" cy="720374"/>
            </a:xfrm>
            <a:custGeom>
              <a:avLst/>
              <a:gdLst>
                <a:gd name="connsiteX0" fmla="*/ 9218 w 529509"/>
                <a:gd name="connsiteY0" fmla="*/ 0 h 720374"/>
                <a:gd name="connsiteX1" fmla="*/ 125033 w 529509"/>
                <a:gd name="connsiteY1" fmla="*/ 0 h 720374"/>
                <a:gd name="connsiteX2" fmla="*/ 102586 w 529509"/>
                <a:gd name="connsiteY2" fmla="*/ 72310 h 720374"/>
                <a:gd name="connsiteX3" fmla="*/ 91440 w 529509"/>
                <a:gd name="connsiteY3" fmla="*/ 182880 h 720374"/>
                <a:gd name="connsiteX4" fmla="*/ 426524 w 529509"/>
                <a:gd name="connsiteY4" fmla="*/ 688405 h 720374"/>
                <a:gd name="connsiteX5" fmla="*/ 529509 w 529509"/>
                <a:gd name="connsiteY5" fmla="*/ 720374 h 720374"/>
                <a:gd name="connsiteX6" fmla="*/ 511082 w 529509"/>
                <a:gd name="connsiteY6" fmla="*/ 718516 h 720374"/>
                <a:gd name="connsiteX7" fmla="*/ 0 w 529509"/>
                <a:gd name="connsiteY7" fmla="*/ 91440 h 720374"/>
                <a:gd name="connsiteX8" fmla="*/ 9218 w 529509"/>
                <a:gd name="connsiteY8" fmla="*/ 0 h 720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9509" h="720374">
                  <a:moveTo>
                    <a:pt x="9218" y="0"/>
                  </a:moveTo>
                  <a:lnTo>
                    <a:pt x="125033" y="0"/>
                  </a:lnTo>
                  <a:lnTo>
                    <a:pt x="102586" y="72310"/>
                  </a:lnTo>
                  <a:cubicBezTo>
                    <a:pt x="95278" y="108025"/>
                    <a:pt x="91440" y="145004"/>
                    <a:pt x="91440" y="182880"/>
                  </a:cubicBezTo>
                  <a:cubicBezTo>
                    <a:pt x="91440" y="410135"/>
                    <a:pt x="229609" y="605117"/>
                    <a:pt x="426524" y="688405"/>
                  </a:cubicBezTo>
                  <a:lnTo>
                    <a:pt x="529509" y="720374"/>
                  </a:lnTo>
                  <a:lnTo>
                    <a:pt x="511082" y="718516"/>
                  </a:lnTo>
                  <a:cubicBezTo>
                    <a:pt x="219408" y="658831"/>
                    <a:pt x="0" y="400758"/>
                    <a:pt x="0" y="91440"/>
                  </a:cubicBezTo>
                  <a:lnTo>
                    <a:pt x="9218" y="0"/>
                  </a:lnTo>
                  <a:close/>
                </a:path>
              </a:pathLst>
            </a:custGeom>
            <a:ln>
              <a:noFill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Freeform 7"/>
            <p:cNvSpPr/>
            <p:nvPr/>
          </p:nvSpPr>
          <p:spPr>
            <a:xfrm>
              <a:off x="9718822" y="3038047"/>
              <a:ext cx="529508" cy="720374"/>
            </a:xfrm>
            <a:custGeom>
              <a:avLst/>
              <a:gdLst>
                <a:gd name="connsiteX0" fmla="*/ 404475 w 529508"/>
                <a:gd name="connsiteY0" fmla="*/ 0 h 720374"/>
                <a:gd name="connsiteX1" fmla="*/ 520290 w 529508"/>
                <a:gd name="connsiteY1" fmla="*/ 0 h 720374"/>
                <a:gd name="connsiteX2" fmla="*/ 529508 w 529508"/>
                <a:gd name="connsiteY2" fmla="*/ 91440 h 720374"/>
                <a:gd name="connsiteX3" fmla="*/ 18426 w 529508"/>
                <a:gd name="connsiteY3" fmla="*/ 718516 h 720374"/>
                <a:gd name="connsiteX4" fmla="*/ 0 w 529508"/>
                <a:gd name="connsiteY4" fmla="*/ 720374 h 720374"/>
                <a:gd name="connsiteX5" fmla="*/ 102984 w 529508"/>
                <a:gd name="connsiteY5" fmla="*/ 688405 h 720374"/>
                <a:gd name="connsiteX6" fmla="*/ 438068 w 529508"/>
                <a:gd name="connsiteY6" fmla="*/ 182880 h 720374"/>
                <a:gd name="connsiteX7" fmla="*/ 426922 w 529508"/>
                <a:gd name="connsiteY7" fmla="*/ 72310 h 720374"/>
                <a:gd name="connsiteX8" fmla="*/ 404475 w 529508"/>
                <a:gd name="connsiteY8" fmla="*/ 0 h 720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9508" h="720374">
                  <a:moveTo>
                    <a:pt x="404475" y="0"/>
                  </a:moveTo>
                  <a:lnTo>
                    <a:pt x="520290" y="0"/>
                  </a:lnTo>
                  <a:lnTo>
                    <a:pt x="529508" y="91440"/>
                  </a:lnTo>
                  <a:cubicBezTo>
                    <a:pt x="529508" y="400758"/>
                    <a:pt x="310100" y="658831"/>
                    <a:pt x="18426" y="718516"/>
                  </a:cubicBezTo>
                  <a:lnTo>
                    <a:pt x="0" y="720374"/>
                  </a:lnTo>
                  <a:lnTo>
                    <a:pt x="102984" y="688405"/>
                  </a:lnTo>
                  <a:cubicBezTo>
                    <a:pt x="299899" y="605117"/>
                    <a:pt x="438068" y="410135"/>
                    <a:pt x="438068" y="182880"/>
                  </a:cubicBezTo>
                  <a:cubicBezTo>
                    <a:pt x="438068" y="145004"/>
                    <a:pt x="434230" y="108025"/>
                    <a:pt x="426922" y="72310"/>
                  </a:cubicBezTo>
                  <a:lnTo>
                    <a:pt x="404475" y="0"/>
                  </a:lnTo>
                  <a:close/>
                </a:path>
              </a:pathLst>
            </a:custGeom>
            <a:ln>
              <a:noFill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Freeform 8"/>
            <p:cNvSpPr/>
            <p:nvPr/>
          </p:nvSpPr>
          <p:spPr>
            <a:xfrm>
              <a:off x="9608250" y="3038047"/>
              <a:ext cx="817597" cy="731520"/>
            </a:xfrm>
            <a:custGeom>
              <a:avLst/>
              <a:gdLst>
                <a:gd name="connsiteX0" fmla="*/ 731520 w 817597"/>
                <a:gd name="connsiteY0" fmla="*/ 0 h 731520"/>
                <a:gd name="connsiteX1" fmla="*/ 817597 w 817597"/>
                <a:gd name="connsiteY1" fmla="*/ 0 h 731520"/>
                <a:gd name="connsiteX2" fmla="*/ 806240 w 817597"/>
                <a:gd name="connsiteY2" fmla="*/ 74415 h 731520"/>
                <a:gd name="connsiteX3" fmla="*/ 0 w 817597"/>
                <a:gd name="connsiteY3" fmla="*/ 731520 h 731520"/>
                <a:gd name="connsiteX4" fmla="*/ 731520 w 817597"/>
                <a:gd name="connsiteY4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597" h="731520">
                  <a:moveTo>
                    <a:pt x="731520" y="0"/>
                  </a:moveTo>
                  <a:lnTo>
                    <a:pt x="817597" y="0"/>
                  </a:lnTo>
                  <a:lnTo>
                    <a:pt x="806240" y="74415"/>
                  </a:lnTo>
                  <a:cubicBezTo>
                    <a:pt x="729502" y="449424"/>
                    <a:pt x="397694" y="731520"/>
                    <a:pt x="0" y="731520"/>
                  </a:cubicBezTo>
                  <a:cubicBezTo>
                    <a:pt x="404007" y="731520"/>
                    <a:pt x="731520" y="404007"/>
                    <a:pt x="731520" y="0"/>
                  </a:cubicBezTo>
                  <a:close/>
                </a:path>
              </a:pathLst>
            </a:custGeom>
            <a:gradFill>
              <a:gsLst>
                <a:gs pos="0">
                  <a:srgbClr val="A42700"/>
                </a:gs>
                <a:gs pos="74000">
                  <a:srgbClr val="A42700"/>
                </a:gs>
                <a:gs pos="83000">
                  <a:srgbClr val="A42700"/>
                </a:gs>
                <a:gs pos="100000">
                  <a:srgbClr val="A4270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Freeform 9"/>
            <p:cNvSpPr/>
            <p:nvPr/>
          </p:nvSpPr>
          <p:spPr>
            <a:xfrm>
              <a:off x="1816719" y="3758421"/>
              <a:ext cx="110571" cy="11146"/>
            </a:xfrm>
            <a:custGeom>
              <a:avLst/>
              <a:gdLst>
                <a:gd name="connsiteX0" fmla="*/ 0 w 110571"/>
                <a:gd name="connsiteY0" fmla="*/ 0 h 11146"/>
                <a:gd name="connsiteX1" fmla="*/ 110571 w 110571"/>
                <a:gd name="connsiteY1" fmla="*/ 11146 h 11146"/>
                <a:gd name="connsiteX2" fmla="*/ 1 w 110571"/>
                <a:gd name="connsiteY2" fmla="*/ 0 h 11146"/>
                <a:gd name="connsiteX3" fmla="*/ 0 w 110571"/>
                <a:gd name="connsiteY3" fmla="*/ 0 h 1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571" h="11146">
                  <a:moveTo>
                    <a:pt x="0" y="0"/>
                  </a:moveTo>
                  <a:lnTo>
                    <a:pt x="110571" y="11146"/>
                  </a:lnTo>
                  <a:cubicBezTo>
                    <a:pt x="72695" y="11146"/>
                    <a:pt x="35716" y="7308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Freeform 10"/>
            <p:cNvSpPr/>
            <p:nvPr/>
          </p:nvSpPr>
          <p:spPr>
            <a:xfrm>
              <a:off x="9608250" y="3758421"/>
              <a:ext cx="110572" cy="11146"/>
            </a:xfrm>
            <a:custGeom>
              <a:avLst/>
              <a:gdLst>
                <a:gd name="connsiteX0" fmla="*/ 110572 w 110572"/>
                <a:gd name="connsiteY0" fmla="*/ 0 h 11146"/>
                <a:gd name="connsiteX1" fmla="*/ 110570 w 110572"/>
                <a:gd name="connsiteY1" fmla="*/ 0 h 11146"/>
                <a:gd name="connsiteX2" fmla="*/ 0 w 110572"/>
                <a:gd name="connsiteY2" fmla="*/ 11146 h 11146"/>
                <a:gd name="connsiteX3" fmla="*/ 110572 w 110572"/>
                <a:gd name="connsiteY3" fmla="*/ 0 h 1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572" h="11146">
                  <a:moveTo>
                    <a:pt x="110572" y="0"/>
                  </a:moveTo>
                  <a:lnTo>
                    <a:pt x="110570" y="0"/>
                  </a:lnTo>
                  <a:cubicBezTo>
                    <a:pt x="74855" y="7308"/>
                    <a:pt x="37876" y="11146"/>
                    <a:pt x="0" y="11146"/>
                  </a:cubicBezTo>
                  <a:lnTo>
                    <a:pt x="110572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Freeform 11"/>
            <p:cNvSpPr/>
            <p:nvPr/>
          </p:nvSpPr>
          <p:spPr>
            <a:xfrm>
              <a:off x="1003679" y="3038047"/>
              <a:ext cx="923611" cy="731520"/>
            </a:xfrm>
            <a:custGeom>
              <a:avLst/>
              <a:gdLst>
                <a:gd name="connsiteX0" fmla="*/ 0 w 923611"/>
                <a:gd name="connsiteY0" fmla="*/ 0 h 731520"/>
                <a:gd name="connsiteX1" fmla="*/ 106014 w 923611"/>
                <a:gd name="connsiteY1" fmla="*/ 0 h 731520"/>
                <a:gd name="connsiteX2" fmla="*/ 117371 w 923611"/>
                <a:gd name="connsiteY2" fmla="*/ 74415 h 731520"/>
                <a:gd name="connsiteX3" fmla="*/ 923611 w 923611"/>
                <a:gd name="connsiteY3" fmla="*/ 731520 h 731520"/>
                <a:gd name="connsiteX4" fmla="*/ 856017 w 923611"/>
                <a:gd name="connsiteY4" fmla="*/ 731520 h 731520"/>
                <a:gd name="connsiteX5" fmla="*/ 5900 w 923611"/>
                <a:gd name="connsiteY5" fmla="*/ 38654 h 731520"/>
                <a:gd name="connsiteX6" fmla="*/ 0 w 923611"/>
                <a:gd name="connsiteY6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3611" h="731520">
                  <a:moveTo>
                    <a:pt x="0" y="0"/>
                  </a:moveTo>
                  <a:lnTo>
                    <a:pt x="106014" y="0"/>
                  </a:lnTo>
                  <a:lnTo>
                    <a:pt x="117371" y="74415"/>
                  </a:lnTo>
                  <a:cubicBezTo>
                    <a:pt x="194109" y="449424"/>
                    <a:pt x="525917" y="731520"/>
                    <a:pt x="923611" y="731520"/>
                  </a:cubicBezTo>
                  <a:lnTo>
                    <a:pt x="856017" y="731520"/>
                  </a:lnTo>
                  <a:cubicBezTo>
                    <a:pt x="436679" y="731520"/>
                    <a:pt x="86814" y="434072"/>
                    <a:pt x="5900" y="38654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chemeClr val="accent6">
                    <a:lumMod val="50000"/>
                  </a:schemeClr>
                </a:gs>
                <a:gs pos="74000">
                  <a:schemeClr val="accent6">
                    <a:lumMod val="50000"/>
                  </a:schemeClr>
                </a:gs>
                <a:gs pos="83000">
                  <a:schemeClr val="accent6">
                    <a:lumMod val="50000"/>
                  </a:schemeClr>
                </a:gs>
                <a:gs pos="100000">
                  <a:schemeClr val="accent6">
                    <a:lumMod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Freeform 12"/>
            <p:cNvSpPr/>
            <p:nvPr/>
          </p:nvSpPr>
          <p:spPr>
            <a:xfrm>
              <a:off x="1195770" y="3038047"/>
              <a:ext cx="731520" cy="731520"/>
            </a:xfrm>
            <a:custGeom>
              <a:avLst/>
              <a:gdLst>
                <a:gd name="connsiteX0" fmla="*/ 0 w 731520"/>
                <a:gd name="connsiteY0" fmla="*/ 0 h 731520"/>
                <a:gd name="connsiteX1" fmla="*/ 100658 w 731520"/>
                <a:gd name="connsiteY1" fmla="*/ 0 h 731520"/>
                <a:gd name="connsiteX2" fmla="*/ 91440 w 731520"/>
                <a:gd name="connsiteY2" fmla="*/ 91440 h 731520"/>
                <a:gd name="connsiteX3" fmla="*/ 602522 w 731520"/>
                <a:gd name="connsiteY3" fmla="*/ 718516 h 731520"/>
                <a:gd name="connsiteX4" fmla="*/ 620949 w 731520"/>
                <a:gd name="connsiteY4" fmla="*/ 720374 h 731520"/>
                <a:gd name="connsiteX5" fmla="*/ 620950 w 731520"/>
                <a:gd name="connsiteY5" fmla="*/ 720374 h 731520"/>
                <a:gd name="connsiteX6" fmla="*/ 731520 w 731520"/>
                <a:gd name="connsiteY6" fmla="*/ 731520 h 731520"/>
                <a:gd name="connsiteX7" fmla="*/ 0 w 731520"/>
                <a:gd name="connsiteY7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0" h="731520">
                  <a:moveTo>
                    <a:pt x="0" y="0"/>
                  </a:moveTo>
                  <a:lnTo>
                    <a:pt x="100658" y="0"/>
                  </a:lnTo>
                  <a:lnTo>
                    <a:pt x="91440" y="91440"/>
                  </a:lnTo>
                  <a:cubicBezTo>
                    <a:pt x="91440" y="400758"/>
                    <a:pt x="310848" y="658831"/>
                    <a:pt x="602522" y="718516"/>
                  </a:cubicBezTo>
                  <a:lnTo>
                    <a:pt x="620949" y="720374"/>
                  </a:lnTo>
                  <a:lnTo>
                    <a:pt x="620950" y="720374"/>
                  </a:lnTo>
                  <a:cubicBezTo>
                    <a:pt x="656665" y="727682"/>
                    <a:pt x="693644" y="731520"/>
                    <a:pt x="731520" y="731520"/>
                  </a:cubicBezTo>
                  <a:cubicBezTo>
                    <a:pt x="327513" y="731520"/>
                    <a:pt x="0" y="404007"/>
                    <a:pt x="0" y="0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Freeform 13"/>
            <p:cNvSpPr/>
            <p:nvPr/>
          </p:nvSpPr>
          <p:spPr>
            <a:xfrm>
              <a:off x="1378650" y="3038047"/>
              <a:ext cx="8778240" cy="731520"/>
            </a:xfrm>
            <a:custGeom>
              <a:avLst/>
              <a:gdLst>
                <a:gd name="connsiteX0" fmla="*/ 33593 w 8778240"/>
                <a:gd name="connsiteY0" fmla="*/ 0 h 731520"/>
                <a:gd name="connsiteX1" fmla="*/ 8744647 w 8778240"/>
                <a:gd name="connsiteY1" fmla="*/ 0 h 731520"/>
                <a:gd name="connsiteX2" fmla="*/ 8767094 w 8778240"/>
                <a:gd name="connsiteY2" fmla="*/ 72310 h 731520"/>
                <a:gd name="connsiteX3" fmla="*/ 8778240 w 8778240"/>
                <a:gd name="connsiteY3" fmla="*/ 182880 h 731520"/>
                <a:gd name="connsiteX4" fmla="*/ 8443156 w 8778240"/>
                <a:gd name="connsiteY4" fmla="*/ 688405 h 731520"/>
                <a:gd name="connsiteX5" fmla="*/ 8340172 w 8778240"/>
                <a:gd name="connsiteY5" fmla="*/ 720374 h 731520"/>
                <a:gd name="connsiteX6" fmla="*/ 8229600 w 8778240"/>
                <a:gd name="connsiteY6" fmla="*/ 731520 h 731520"/>
                <a:gd name="connsiteX7" fmla="*/ 548640 w 8778240"/>
                <a:gd name="connsiteY7" fmla="*/ 731520 h 731520"/>
                <a:gd name="connsiteX8" fmla="*/ 438069 w 8778240"/>
                <a:gd name="connsiteY8" fmla="*/ 720374 h 731520"/>
                <a:gd name="connsiteX9" fmla="*/ 335084 w 8778240"/>
                <a:gd name="connsiteY9" fmla="*/ 688405 h 731520"/>
                <a:gd name="connsiteX10" fmla="*/ 0 w 8778240"/>
                <a:gd name="connsiteY10" fmla="*/ 182880 h 731520"/>
                <a:gd name="connsiteX11" fmla="*/ 11146 w 8778240"/>
                <a:gd name="connsiteY11" fmla="*/ 72310 h 731520"/>
                <a:gd name="connsiteX12" fmla="*/ 33593 w 8778240"/>
                <a:gd name="connsiteY12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78240" h="731520">
                  <a:moveTo>
                    <a:pt x="33593" y="0"/>
                  </a:moveTo>
                  <a:lnTo>
                    <a:pt x="8744647" y="0"/>
                  </a:lnTo>
                  <a:lnTo>
                    <a:pt x="8767094" y="72310"/>
                  </a:lnTo>
                  <a:cubicBezTo>
                    <a:pt x="8774402" y="108025"/>
                    <a:pt x="8778240" y="145004"/>
                    <a:pt x="8778240" y="182880"/>
                  </a:cubicBezTo>
                  <a:cubicBezTo>
                    <a:pt x="8778240" y="410135"/>
                    <a:pt x="8640071" y="605117"/>
                    <a:pt x="8443156" y="688405"/>
                  </a:cubicBezTo>
                  <a:lnTo>
                    <a:pt x="8340172" y="720374"/>
                  </a:lnTo>
                  <a:lnTo>
                    <a:pt x="8229600" y="731520"/>
                  </a:lnTo>
                  <a:lnTo>
                    <a:pt x="548640" y="731520"/>
                  </a:lnTo>
                  <a:lnTo>
                    <a:pt x="438069" y="720374"/>
                  </a:lnTo>
                  <a:lnTo>
                    <a:pt x="335084" y="688405"/>
                  </a:lnTo>
                  <a:cubicBezTo>
                    <a:pt x="138169" y="605117"/>
                    <a:pt x="0" y="410135"/>
                    <a:pt x="0" y="182880"/>
                  </a:cubicBezTo>
                  <a:cubicBezTo>
                    <a:pt x="0" y="145004"/>
                    <a:pt x="3838" y="108025"/>
                    <a:pt x="11146" y="72310"/>
                  </a:cubicBezTo>
                  <a:lnTo>
                    <a:pt x="33593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Freeform 14"/>
            <p:cNvSpPr/>
            <p:nvPr/>
          </p:nvSpPr>
          <p:spPr>
            <a:xfrm>
              <a:off x="9608250" y="3038047"/>
              <a:ext cx="731520" cy="731520"/>
            </a:xfrm>
            <a:custGeom>
              <a:avLst/>
              <a:gdLst>
                <a:gd name="connsiteX0" fmla="*/ 630862 w 731520"/>
                <a:gd name="connsiteY0" fmla="*/ 0 h 731520"/>
                <a:gd name="connsiteX1" fmla="*/ 731520 w 731520"/>
                <a:gd name="connsiteY1" fmla="*/ 0 h 731520"/>
                <a:gd name="connsiteX2" fmla="*/ 0 w 731520"/>
                <a:gd name="connsiteY2" fmla="*/ 731520 h 731520"/>
                <a:gd name="connsiteX3" fmla="*/ 110570 w 731520"/>
                <a:gd name="connsiteY3" fmla="*/ 720374 h 731520"/>
                <a:gd name="connsiteX4" fmla="*/ 110572 w 731520"/>
                <a:gd name="connsiteY4" fmla="*/ 720374 h 731520"/>
                <a:gd name="connsiteX5" fmla="*/ 128998 w 731520"/>
                <a:gd name="connsiteY5" fmla="*/ 718516 h 731520"/>
                <a:gd name="connsiteX6" fmla="*/ 640080 w 731520"/>
                <a:gd name="connsiteY6" fmla="*/ 91440 h 731520"/>
                <a:gd name="connsiteX7" fmla="*/ 630862 w 731520"/>
                <a:gd name="connsiteY7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0" h="731520">
                  <a:moveTo>
                    <a:pt x="630862" y="0"/>
                  </a:moveTo>
                  <a:lnTo>
                    <a:pt x="731520" y="0"/>
                  </a:lnTo>
                  <a:cubicBezTo>
                    <a:pt x="731520" y="404007"/>
                    <a:pt x="404007" y="731520"/>
                    <a:pt x="0" y="731520"/>
                  </a:cubicBezTo>
                  <a:cubicBezTo>
                    <a:pt x="37876" y="731520"/>
                    <a:pt x="74855" y="727682"/>
                    <a:pt x="110570" y="720374"/>
                  </a:cubicBezTo>
                  <a:lnTo>
                    <a:pt x="110572" y="720374"/>
                  </a:lnTo>
                  <a:lnTo>
                    <a:pt x="128998" y="718516"/>
                  </a:lnTo>
                  <a:cubicBezTo>
                    <a:pt x="420672" y="658831"/>
                    <a:pt x="640080" y="400758"/>
                    <a:pt x="640080" y="91440"/>
                  </a:cubicBezTo>
                  <a:lnTo>
                    <a:pt x="630862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reeform 15"/>
            <p:cNvSpPr/>
            <p:nvPr/>
          </p:nvSpPr>
          <p:spPr>
            <a:xfrm>
              <a:off x="9608250" y="3038047"/>
              <a:ext cx="923612" cy="731520"/>
            </a:xfrm>
            <a:custGeom>
              <a:avLst/>
              <a:gdLst>
                <a:gd name="connsiteX0" fmla="*/ 817597 w 923612"/>
                <a:gd name="connsiteY0" fmla="*/ 0 h 731520"/>
                <a:gd name="connsiteX1" fmla="*/ 923612 w 923612"/>
                <a:gd name="connsiteY1" fmla="*/ 0 h 731520"/>
                <a:gd name="connsiteX2" fmla="*/ 917712 w 923612"/>
                <a:gd name="connsiteY2" fmla="*/ 38654 h 731520"/>
                <a:gd name="connsiteX3" fmla="*/ 67595 w 923612"/>
                <a:gd name="connsiteY3" fmla="*/ 731520 h 731520"/>
                <a:gd name="connsiteX4" fmla="*/ 0 w 923612"/>
                <a:gd name="connsiteY4" fmla="*/ 731520 h 731520"/>
                <a:gd name="connsiteX5" fmla="*/ 806240 w 923612"/>
                <a:gd name="connsiteY5" fmla="*/ 74415 h 731520"/>
                <a:gd name="connsiteX6" fmla="*/ 817597 w 923612"/>
                <a:gd name="connsiteY6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3612" h="731520">
                  <a:moveTo>
                    <a:pt x="817597" y="0"/>
                  </a:moveTo>
                  <a:lnTo>
                    <a:pt x="923612" y="0"/>
                  </a:lnTo>
                  <a:lnTo>
                    <a:pt x="917712" y="38654"/>
                  </a:lnTo>
                  <a:cubicBezTo>
                    <a:pt x="836798" y="434072"/>
                    <a:pt x="486933" y="731520"/>
                    <a:pt x="67595" y="731520"/>
                  </a:cubicBezTo>
                  <a:lnTo>
                    <a:pt x="0" y="731520"/>
                  </a:lnTo>
                  <a:cubicBezTo>
                    <a:pt x="397694" y="731520"/>
                    <a:pt x="729502" y="449424"/>
                    <a:pt x="806240" y="74415"/>
                  </a:cubicBezTo>
                  <a:lnTo>
                    <a:pt x="817597" y="0"/>
                  </a:lnTo>
                  <a:close/>
                </a:path>
              </a:pathLst>
            </a:custGeom>
            <a:gradFill>
              <a:gsLst>
                <a:gs pos="0">
                  <a:schemeClr val="accent6">
                    <a:lumMod val="50000"/>
                  </a:schemeClr>
                </a:gs>
                <a:gs pos="74000">
                  <a:schemeClr val="accent6">
                    <a:lumMod val="50000"/>
                  </a:schemeClr>
                </a:gs>
                <a:gs pos="83000">
                  <a:schemeClr val="accent6">
                    <a:lumMod val="50000"/>
                  </a:schemeClr>
                </a:gs>
                <a:gs pos="100000">
                  <a:schemeClr val="accent6">
                    <a:lumMod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0" y="6126480"/>
            <a:ext cx="12192000" cy="731520"/>
            <a:chOff x="1003679" y="3038047"/>
            <a:chExt cx="9528183" cy="731520"/>
          </a:xfrm>
        </p:grpSpPr>
        <p:sp>
          <p:nvSpPr>
            <p:cNvPr id="18" name="Freeform 17"/>
            <p:cNvSpPr/>
            <p:nvPr/>
          </p:nvSpPr>
          <p:spPr>
            <a:xfrm>
              <a:off x="1109693" y="3038047"/>
              <a:ext cx="817597" cy="731520"/>
            </a:xfrm>
            <a:custGeom>
              <a:avLst/>
              <a:gdLst>
                <a:gd name="connsiteX0" fmla="*/ 0 w 817597"/>
                <a:gd name="connsiteY0" fmla="*/ 0 h 731520"/>
                <a:gd name="connsiteX1" fmla="*/ 86077 w 817597"/>
                <a:gd name="connsiteY1" fmla="*/ 0 h 731520"/>
                <a:gd name="connsiteX2" fmla="*/ 817597 w 817597"/>
                <a:gd name="connsiteY2" fmla="*/ 731520 h 731520"/>
                <a:gd name="connsiteX3" fmla="*/ 11357 w 817597"/>
                <a:gd name="connsiteY3" fmla="*/ 74415 h 731520"/>
                <a:gd name="connsiteX4" fmla="*/ 0 w 817597"/>
                <a:gd name="connsiteY4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597" h="731520">
                  <a:moveTo>
                    <a:pt x="0" y="0"/>
                  </a:moveTo>
                  <a:lnTo>
                    <a:pt x="86077" y="0"/>
                  </a:lnTo>
                  <a:cubicBezTo>
                    <a:pt x="86077" y="404007"/>
                    <a:pt x="413590" y="731520"/>
                    <a:pt x="817597" y="731520"/>
                  </a:cubicBezTo>
                  <a:cubicBezTo>
                    <a:pt x="419903" y="731520"/>
                    <a:pt x="88095" y="449424"/>
                    <a:pt x="11357" y="74415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A42700"/>
                </a:gs>
                <a:gs pos="74000">
                  <a:srgbClr val="A42700"/>
                </a:gs>
                <a:gs pos="83000">
                  <a:srgbClr val="A42700"/>
                </a:gs>
                <a:gs pos="100000">
                  <a:srgbClr val="A4270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reeform 18"/>
            <p:cNvSpPr/>
            <p:nvPr/>
          </p:nvSpPr>
          <p:spPr>
            <a:xfrm>
              <a:off x="1287210" y="3038047"/>
              <a:ext cx="529509" cy="720374"/>
            </a:xfrm>
            <a:custGeom>
              <a:avLst/>
              <a:gdLst>
                <a:gd name="connsiteX0" fmla="*/ 9218 w 529509"/>
                <a:gd name="connsiteY0" fmla="*/ 0 h 720374"/>
                <a:gd name="connsiteX1" fmla="*/ 125033 w 529509"/>
                <a:gd name="connsiteY1" fmla="*/ 0 h 720374"/>
                <a:gd name="connsiteX2" fmla="*/ 102586 w 529509"/>
                <a:gd name="connsiteY2" fmla="*/ 72310 h 720374"/>
                <a:gd name="connsiteX3" fmla="*/ 91440 w 529509"/>
                <a:gd name="connsiteY3" fmla="*/ 182880 h 720374"/>
                <a:gd name="connsiteX4" fmla="*/ 426524 w 529509"/>
                <a:gd name="connsiteY4" fmla="*/ 688405 h 720374"/>
                <a:gd name="connsiteX5" fmla="*/ 529509 w 529509"/>
                <a:gd name="connsiteY5" fmla="*/ 720374 h 720374"/>
                <a:gd name="connsiteX6" fmla="*/ 511082 w 529509"/>
                <a:gd name="connsiteY6" fmla="*/ 718516 h 720374"/>
                <a:gd name="connsiteX7" fmla="*/ 0 w 529509"/>
                <a:gd name="connsiteY7" fmla="*/ 91440 h 720374"/>
                <a:gd name="connsiteX8" fmla="*/ 9218 w 529509"/>
                <a:gd name="connsiteY8" fmla="*/ 0 h 720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9509" h="720374">
                  <a:moveTo>
                    <a:pt x="9218" y="0"/>
                  </a:moveTo>
                  <a:lnTo>
                    <a:pt x="125033" y="0"/>
                  </a:lnTo>
                  <a:lnTo>
                    <a:pt x="102586" y="72310"/>
                  </a:lnTo>
                  <a:cubicBezTo>
                    <a:pt x="95278" y="108025"/>
                    <a:pt x="91440" y="145004"/>
                    <a:pt x="91440" y="182880"/>
                  </a:cubicBezTo>
                  <a:cubicBezTo>
                    <a:pt x="91440" y="410135"/>
                    <a:pt x="229609" y="605117"/>
                    <a:pt x="426524" y="688405"/>
                  </a:cubicBezTo>
                  <a:lnTo>
                    <a:pt x="529509" y="720374"/>
                  </a:lnTo>
                  <a:lnTo>
                    <a:pt x="511082" y="718516"/>
                  </a:lnTo>
                  <a:cubicBezTo>
                    <a:pt x="219408" y="658831"/>
                    <a:pt x="0" y="400758"/>
                    <a:pt x="0" y="91440"/>
                  </a:cubicBezTo>
                  <a:lnTo>
                    <a:pt x="9218" y="0"/>
                  </a:lnTo>
                  <a:close/>
                </a:path>
              </a:pathLst>
            </a:custGeom>
            <a:ln>
              <a:noFill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reeform 19"/>
            <p:cNvSpPr/>
            <p:nvPr/>
          </p:nvSpPr>
          <p:spPr>
            <a:xfrm>
              <a:off x="9718822" y="3038047"/>
              <a:ext cx="529508" cy="720374"/>
            </a:xfrm>
            <a:custGeom>
              <a:avLst/>
              <a:gdLst>
                <a:gd name="connsiteX0" fmla="*/ 404475 w 529508"/>
                <a:gd name="connsiteY0" fmla="*/ 0 h 720374"/>
                <a:gd name="connsiteX1" fmla="*/ 520290 w 529508"/>
                <a:gd name="connsiteY1" fmla="*/ 0 h 720374"/>
                <a:gd name="connsiteX2" fmla="*/ 529508 w 529508"/>
                <a:gd name="connsiteY2" fmla="*/ 91440 h 720374"/>
                <a:gd name="connsiteX3" fmla="*/ 18426 w 529508"/>
                <a:gd name="connsiteY3" fmla="*/ 718516 h 720374"/>
                <a:gd name="connsiteX4" fmla="*/ 0 w 529508"/>
                <a:gd name="connsiteY4" fmla="*/ 720374 h 720374"/>
                <a:gd name="connsiteX5" fmla="*/ 102984 w 529508"/>
                <a:gd name="connsiteY5" fmla="*/ 688405 h 720374"/>
                <a:gd name="connsiteX6" fmla="*/ 438068 w 529508"/>
                <a:gd name="connsiteY6" fmla="*/ 182880 h 720374"/>
                <a:gd name="connsiteX7" fmla="*/ 426922 w 529508"/>
                <a:gd name="connsiteY7" fmla="*/ 72310 h 720374"/>
                <a:gd name="connsiteX8" fmla="*/ 404475 w 529508"/>
                <a:gd name="connsiteY8" fmla="*/ 0 h 720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9508" h="720374">
                  <a:moveTo>
                    <a:pt x="404475" y="0"/>
                  </a:moveTo>
                  <a:lnTo>
                    <a:pt x="520290" y="0"/>
                  </a:lnTo>
                  <a:lnTo>
                    <a:pt x="529508" y="91440"/>
                  </a:lnTo>
                  <a:cubicBezTo>
                    <a:pt x="529508" y="400758"/>
                    <a:pt x="310100" y="658831"/>
                    <a:pt x="18426" y="718516"/>
                  </a:cubicBezTo>
                  <a:lnTo>
                    <a:pt x="0" y="720374"/>
                  </a:lnTo>
                  <a:lnTo>
                    <a:pt x="102984" y="688405"/>
                  </a:lnTo>
                  <a:cubicBezTo>
                    <a:pt x="299899" y="605117"/>
                    <a:pt x="438068" y="410135"/>
                    <a:pt x="438068" y="182880"/>
                  </a:cubicBezTo>
                  <a:cubicBezTo>
                    <a:pt x="438068" y="145004"/>
                    <a:pt x="434230" y="108025"/>
                    <a:pt x="426922" y="72310"/>
                  </a:cubicBezTo>
                  <a:lnTo>
                    <a:pt x="404475" y="0"/>
                  </a:lnTo>
                  <a:close/>
                </a:path>
              </a:pathLst>
            </a:custGeom>
            <a:ln>
              <a:noFill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Freeform 20"/>
            <p:cNvSpPr/>
            <p:nvPr/>
          </p:nvSpPr>
          <p:spPr>
            <a:xfrm>
              <a:off x="9608250" y="3038047"/>
              <a:ext cx="817597" cy="731520"/>
            </a:xfrm>
            <a:custGeom>
              <a:avLst/>
              <a:gdLst>
                <a:gd name="connsiteX0" fmla="*/ 731520 w 817597"/>
                <a:gd name="connsiteY0" fmla="*/ 0 h 731520"/>
                <a:gd name="connsiteX1" fmla="*/ 817597 w 817597"/>
                <a:gd name="connsiteY1" fmla="*/ 0 h 731520"/>
                <a:gd name="connsiteX2" fmla="*/ 806240 w 817597"/>
                <a:gd name="connsiteY2" fmla="*/ 74415 h 731520"/>
                <a:gd name="connsiteX3" fmla="*/ 0 w 817597"/>
                <a:gd name="connsiteY3" fmla="*/ 731520 h 731520"/>
                <a:gd name="connsiteX4" fmla="*/ 731520 w 817597"/>
                <a:gd name="connsiteY4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597" h="731520">
                  <a:moveTo>
                    <a:pt x="731520" y="0"/>
                  </a:moveTo>
                  <a:lnTo>
                    <a:pt x="817597" y="0"/>
                  </a:lnTo>
                  <a:lnTo>
                    <a:pt x="806240" y="74415"/>
                  </a:lnTo>
                  <a:cubicBezTo>
                    <a:pt x="729502" y="449424"/>
                    <a:pt x="397694" y="731520"/>
                    <a:pt x="0" y="731520"/>
                  </a:cubicBezTo>
                  <a:cubicBezTo>
                    <a:pt x="404007" y="731520"/>
                    <a:pt x="731520" y="404007"/>
                    <a:pt x="731520" y="0"/>
                  </a:cubicBezTo>
                  <a:close/>
                </a:path>
              </a:pathLst>
            </a:custGeom>
            <a:gradFill>
              <a:gsLst>
                <a:gs pos="0">
                  <a:srgbClr val="A42700"/>
                </a:gs>
                <a:gs pos="74000">
                  <a:srgbClr val="A42700"/>
                </a:gs>
                <a:gs pos="83000">
                  <a:srgbClr val="A42700"/>
                </a:gs>
                <a:gs pos="100000">
                  <a:srgbClr val="A4270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Freeform 21"/>
            <p:cNvSpPr/>
            <p:nvPr/>
          </p:nvSpPr>
          <p:spPr>
            <a:xfrm>
              <a:off x="1816719" y="3758421"/>
              <a:ext cx="110571" cy="11146"/>
            </a:xfrm>
            <a:custGeom>
              <a:avLst/>
              <a:gdLst>
                <a:gd name="connsiteX0" fmla="*/ 0 w 110571"/>
                <a:gd name="connsiteY0" fmla="*/ 0 h 11146"/>
                <a:gd name="connsiteX1" fmla="*/ 110571 w 110571"/>
                <a:gd name="connsiteY1" fmla="*/ 11146 h 11146"/>
                <a:gd name="connsiteX2" fmla="*/ 1 w 110571"/>
                <a:gd name="connsiteY2" fmla="*/ 0 h 11146"/>
                <a:gd name="connsiteX3" fmla="*/ 0 w 110571"/>
                <a:gd name="connsiteY3" fmla="*/ 0 h 1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571" h="11146">
                  <a:moveTo>
                    <a:pt x="0" y="0"/>
                  </a:moveTo>
                  <a:lnTo>
                    <a:pt x="110571" y="11146"/>
                  </a:lnTo>
                  <a:cubicBezTo>
                    <a:pt x="72695" y="11146"/>
                    <a:pt x="35716" y="7308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Freeform 22"/>
            <p:cNvSpPr/>
            <p:nvPr/>
          </p:nvSpPr>
          <p:spPr>
            <a:xfrm>
              <a:off x="9608250" y="3758421"/>
              <a:ext cx="110572" cy="11146"/>
            </a:xfrm>
            <a:custGeom>
              <a:avLst/>
              <a:gdLst>
                <a:gd name="connsiteX0" fmla="*/ 110572 w 110572"/>
                <a:gd name="connsiteY0" fmla="*/ 0 h 11146"/>
                <a:gd name="connsiteX1" fmla="*/ 110570 w 110572"/>
                <a:gd name="connsiteY1" fmla="*/ 0 h 11146"/>
                <a:gd name="connsiteX2" fmla="*/ 0 w 110572"/>
                <a:gd name="connsiteY2" fmla="*/ 11146 h 11146"/>
                <a:gd name="connsiteX3" fmla="*/ 110572 w 110572"/>
                <a:gd name="connsiteY3" fmla="*/ 0 h 1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572" h="11146">
                  <a:moveTo>
                    <a:pt x="110572" y="0"/>
                  </a:moveTo>
                  <a:lnTo>
                    <a:pt x="110570" y="0"/>
                  </a:lnTo>
                  <a:cubicBezTo>
                    <a:pt x="74855" y="7308"/>
                    <a:pt x="37876" y="11146"/>
                    <a:pt x="0" y="11146"/>
                  </a:cubicBezTo>
                  <a:lnTo>
                    <a:pt x="110572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Freeform 23"/>
            <p:cNvSpPr/>
            <p:nvPr/>
          </p:nvSpPr>
          <p:spPr>
            <a:xfrm>
              <a:off x="1003679" y="3038047"/>
              <a:ext cx="923611" cy="731520"/>
            </a:xfrm>
            <a:custGeom>
              <a:avLst/>
              <a:gdLst>
                <a:gd name="connsiteX0" fmla="*/ 0 w 923611"/>
                <a:gd name="connsiteY0" fmla="*/ 0 h 731520"/>
                <a:gd name="connsiteX1" fmla="*/ 106014 w 923611"/>
                <a:gd name="connsiteY1" fmla="*/ 0 h 731520"/>
                <a:gd name="connsiteX2" fmla="*/ 117371 w 923611"/>
                <a:gd name="connsiteY2" fmla="*/ 74415 h 731520"/>
                <a:gd name="connsiteX3" fmla="*/ 923611 w 923611"/>
                <a:gd name="connsiteY3" fmla="*/ 731520 h 731520"/>
                <a:gd name="connsiteX4" fmla="*/ 856017 w 923611"/>
                <a:gd name="connsiteY4" fmla="*/ 731520 h 731520"/>
                <a:gd name="connsiteX5" fmla="*/ 5900 w 923611"/>
                <a:gd name="connsiteY5" fmla="*/ 38654 h 731520"/>
                <a:gd name="connsiteX6" fmla="*/ 0 w 923611"/>
                <a:gd name="connsiteY6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3611" h="731520">
                  <a:moveTo>
                    <a:pt x="0" y="0"/>
                  </a:moveTo>
                  <a:lnTo>
                    <a:pt x="106014" y="0"/>
                  </a:lnTo>
                  <a:lnTo>
                    <a:pt x="117371" y="74415"/>
                  </a:lnTo>
                  <a:cubicBezTo>
                    <a:pt x="194109" y="449424"/>
                    <a:pt x="525917" y="731520"/>
                    <a:pt x="923611" y="731520"/>
                  </a:cubicBezTo>
                  <a:lnTo>
                    <a:pt x="856017" y="731520"/>
                  </a:lnTo>
                  <a:cubicBezTo>
                    <a:pt x="436679" y="731520"/>
                    <a:pt x="86814" y="434072"/>
                    <a:pt x="5900" y="38654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chemeClr val="accent6">
                    <a:lumMod val="50000"/>
                  </a:schemeClr>
                </a:gs>
                <a:gs pos="74000">
                  <a:schemeClr val="accent6">
                    <a:lumMod val="50000"/>
                  </a:schemeClr>
                </a:gs>
                <a:gs pos="83000">
                  <a:schemeClr val="accent6">
                    <a:lumMod val="50000"/>
                  </a:schemeClr>
                </a:gs>
                <a:gs pos="100000">
                  <a:schemeClr val="accent6">
                    <a:lumMod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Freeform 24"/>
            <p:cNvSpPr/>
            <p:nvPr/>
          </p:nvSpPr>
          <p:spPr>
            <a:xfrm>
              <a:off x="1195770" y="3038047"/>
              <a:ext cx="731520" cy="731520"/>
            </a:xfrm>
            <a:custGeom>
              <a:avLst/>
              <a:gdLst>
                <a:gd name="connsiteX0" fmla="*/ 0 w 731520"/>
                <a:gd name="connsiteY0" fmla="*/ 0 h 731520"/>
                <a:gd name="connsiteX1" fmla="*/ 100658 w 731520"/>
                <a:gd name="connsiteY1" fmla="*/ 0 h 731520"/>
                <a:gd name="connsiteX2" fmla="*/ 91440 w 731520"/>
                <a:gd name="connsiteY2" fmla="*/ 91440 h 731520"/>
                <a:gd name="connsiteX3" fmla="*/ 602522 w 731520"/>
                <a:gd name="connsiteY3" fmla="*/ 718516 h 731520"/>
                <a:gd name="connsiteX4" fmla="*/ 620949 w 731520"/>
                <a:gd name="connsiteY4" fmla="*/ 720374 h 731520"/>
                <a:gd name="connsiteX5" fmla="*/ 620950 w 731520"/>
                <a:gd name="connsiteY5" fmla="*/ 720374 h 731520"/>
                <a:gd name="connsiteX6" fmla="*/ 731520 w 731520"/>
                <a:gd name="connsiteY6" fmla="*/ 731520 h 731520"/>
                <a:gd name="connsiteX7" fmla="*/ 0 w 731520"/>
                <a:gd name="connsiteY7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0" h="731520">
                  <a:moveTo>
                    <a:pt x="0" y="0"/>
                  </a:moveTo>
                  <a:lnTo>
                    <a:pt x="100658" y="0"/>
                  </a:lnTo>
                  <a:lnTo>
                    <a:pt x="91440" y="91440"/>
                  </a:lnTo>
                  <a:cubicBezTo>
                    <a:pt x="91440" y="400758"/>
                    <a:pt x="310848" y="658831"/>
                    <a:pt x="602522" y="718516"/>
                  </a:cubicBezTo>
                  <a:lnTo>
                    <a:pt x="620949" y="720374"/>
                  </a:lnTo>
                  <a:lnTo>
                    <a:pt x="620950" y="720374"/>
                  </a:lnTo>
                  <a:cubicBezTo>
                    <a:pt x="656665" y="727682"/>
                    <a:pt x="693644" y="731520"/>
                    <a:pt x="731520" y="731520"/>
                  </a:cubicBezTo>
                  <a:cubicBezTo>
                    <a:pt x="327513" y="731520"/>
                    <a:pt x="0" y="404007"/>
                    <a:pt x="0" y="0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Freeform 25"/>
            <p:cNvSpPr/>
            <p:nvPr/>
          </p:nvSpPr>
          <p:spPr>
            <a:xfrm>
              <a:off x="1378650" y="3038047"/>
              <a:ext cx="8778240" cy="731520"/>
            </a:xfrm>
            <a:custGeom>
              <a:avLst/>
              <a:gdLst>
                <a:gd name="connsiteX0" fmla="*/ 33593 w 8778240"/>
                <a:gd name="connsiteY0" fmla="*/ 0 h 731520"/>
                <a:gd name="connsiteX1" fmla="*/ 8744647 w 8778240"/>
                <a:gd name="connsiteY1" fmla="*/ 0 h 731520"/>
                <a:gd name="connsiteX2" fmla="*/ 8767094 w 8778240"/>
                <a:gd name="connsiteY2" fmla="*/ 72310 h 731520"/>
                <a:gd name="connsiteX3" fmla="*/ 8778240 w 8778240"/>
                <a:gd name="connsiteY3" fmla="*/ 182880 h 731520"/>
                <a:gd name="connsiteX4" fmla="*/ 8443156 w 8778240"/>
                <a:gd name="connsiteY4" fmla="*/ 688405 h 731520"/>
                <a:gd name="connsiteX5" fmla="*/ 8340172 w 8778240"/>
                <a:gd name="connsiteY5" fmla="*/ 720374 h 731520"/>
                <a:gd name="connsiteX6" fmla="*/ 8229600 w 8778240"/>
                <a:gd name="connsiteY6" fmla="*/ 731520 h 731520"/>
                <a:gd name="connsiteX7" fmla="*/ 548640 w 8778240"/>
                <a:gd name="connsiteY7" fmla="*/ 731520 h 731520"/>
                <a:gd name="connsiteX8" fmla="*/ 438069 w 8778240"/>
                <a:gd name="connsiteY8" fmla="*/ 720374 h 731520"/>
                <a:gd name="connsiteX9" fmla="*/ 335084 w 8778240"/>
                <a:gd name="connsiteY9" fmla="*/ 688405 h 731520"/>
                <a:gd name="connsiteX10" fmla="*/ 0 w 8778240"/>
                <a:gd name="connsiteY10" fmla="*/ 182880 h 731520"/>
                <a:gd name="connsiteX11" fmla="*/ 11146 w 8778240"/>
                <a:gd name="connsiteY11" fmla="*/ 72310 h 731520"/>
                <a:gd name="connsiteX12" fmla="*/ 33593 w 8778240"/>
                <a:gd name="connsiteY12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78240" h="731520">
                  <a:moveTo>
                    <a:pt x="33593" y="0"/>
                  </a:moveTo>
                  <a:lnTo>
                    <a:pt x="8744647" y="0"/>
                  </a:lnTo>
                  <a:lnTo>
                    <a:pt x="8767094" y="72310"/>
                  </a:lnTo>
                  <a:cubicBezTo>
                    <a:pt x="8774402" y="108025"/>
                    <a:pt x="8778240" y="145004"/>
                    <a:pt x="8778240" y="182880"/>
                  </a:cubicBezTo>
                  <a:cubicBezTo>
                    <a:pt x="8778240" y="410135"/>
                    <a:pt x="8640071" y="605117"/>
                    <a:pt x="8443156" y="688405"/>
                  </a:cubicBezTo>
                  <a:lnTo>
                    <a:pt x="8340172" y="720374"/>
                  </a:lnTo>
                  <a:lnTo>
                    <a:pt x="8229600" y="731520"/>
                  </a:lnTo>
                  <a:lnTo>
                    <a:pt x="548640" y="731520"/>
                  </a:lnTo>
                  <a:lnTo>
                    <a:pt x="438069" y="720374"/>
                  </a:lnTo>
                  <a:lnTo>
                    <a:pt x="335084" y="688405"/>
                  </a:lnTo>
                  <a:cubicBezTo>
                    <a:pt x="138169" y="605117"/>
                    <a:pt x="0" y="410135"/>
                    <a:pt x="0" y="182880"/>
                  </a:cubicBezTo>
                  <a:cubicBezTo>
                    <a:pt x="0" y="145004"/>
                    <a:pt x="3838" y="108025"/>
                    <a:pt x="11146" y="72310"/>
                  </a:cubicBezTo>
                  <a:lnTo>
                    <a:pt x="33593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Freeform 26"/>
            <p:cNvSpPr/>
            <p:nvPr/>
          </p:nvSpPr>
          <p:spPr>
            <a:xfrm>
              <a:off x="9608250" y="3038047"/>
              <a:ext cx="731520" cy="731520"/>
            </a:xfrm>
            <a:custGeom>
              <a:avLst/>
              <a:gdLst>
                <a:gd name="connsiteX0" fmla="*/ 630862 w 731520"/>
                <a:gd name="connsiteY0" fmla="*/ 0 h 731520"/>
                <a:gd name="connsiteX1" fmla="*/ 731520 w 731520"/>
                <a:gd name="connsiteY1" fmla="*/ 0 h 731520"/>
                <a:gd name="connsiteX2" fmla="*/ 0 w 731520"/>
                <a:gd name="connsiteY2" fmla="*/ 731520 h 731520"/>
                <a:gd name="connsiteX3" fmla="*/ 110570 w 731520"/>
                <a:gd name="connsiteY3" fmla="*/ 720374 h 731520"/>
                <a:gd name="connsiteX4" fmla="*/ 110572 w 731520"/>
                <a:gd name="connsiteY4" fmla="*/ 720374 h 731520"/>
                <a:gd name="connsiteX5" fmla="*/ 128998 w 731520"/>
                <a:gd name="connsiteY5" fmla="*/ 718516 h 731520"/>
                <a:gd name="connsiteX6" fmla="*/ 640080 w 731520"/>
                <a:gd name="connsiteY6" fmla="*/ 91440 h 731520"/>
                <a:gd name="connsiteX7" fmla="*/ 630862 w 731520"/>
                <a:gd name="connsiteY7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0" h="731520">
                  <a:moveTo>
                    <a:pt x="630862" y="0"/>
                  </a:moveTo>
                  <a:lnTo>
                    <a:pt x="731520" y="0"/>
                  </a:lnTo>
                  <a:cubicBezTo>
                    <a:pt x="731520" y="404007"/>
                    <a:pt x="404007" y="731520"/>
                    <a:pt x="0" y="731520"/>
                  </a:cubicBezTo>
                  <a:cubicBezTo>
                    <a:pt x="37876" y="731520"/>
                    <a:pt x="74855" y="727682"/>
                    <a:pt x="110570" y="720374"/>
                  </a:cubicBezTo>
                  <a:lnTo>
                    <a:pt x="110572" y="720374"/>
                  </a:lnTo>
                  <a:lnTo>
                    <a:pt x="128998" y="718516"/>
                  </a:lnTo>
                  <a:cubicBezTo>
                    <a:pt x="420672" y="658831"/>
                    <a:pt x="640080" y="400758"/>
                    <a:pt x="640080" y="91440"/>
                  </a:cubicBezTo>
                  <a:lnTo>
                    <a:pt x="630862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Freeform 27"/>
            <p:cNvSpPr/>
            <p:nvPr/>
          </p:nvSpPr>
          <p:spPr>
            <a:xfrm>
              <a:off x="9608250" y="3038047"/>
              <a:ext cx="923612" cy="731520"/>
            </a:xfrm>
            <a:custGeom>
              <a:avLst/>
              <a:gdLst>
                <a:gd name="connsiteX0" fmla="*/ 817597 w 923612"/>
                <a:gd name="connsiteY0" fmla="*/ 0 h 731520"/>
                <a:gd name="connsiteX1" fmla="*/ 923612 w 923612"/>
                <a:gd name="connsiteY1" fmla="*/ 0 h 731520"/>
                <a:gd name="connsiteX2" fmla="*/ 917712 w 923612"/>
                <a:gd name="connsiteY2" fmla="*/ 38654 h 731520"/>
                <a:gd name="connsiteX3" fmla="*/ 67595 w 923612"/>
                <a:gd name="connsiteY3" fmla="*/ 731520 h 731520"/>
                <a:gd name="connsiteX4" fmla="*/ 0 w 923612"/>
                <a:gd name="connsiteY4" fmla="*/ 731520 h 731520"/>
                <a:gd name="connsiteX5" fmla="*/ 806240 w 923612"/>
                <a:gd name="connsiteY5" fmla="*/ 74415 h 731520"/>
                <a:gd name="connsiteX6" fmla="*/ 817597 w 923612"/>
                <a:gd name="connsiteY6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3612" h="731520">
                  <a:moveTo>
                    <a:pt x="817597" y="0"/>
                  </a:moveTo>
                  <a:lnTo>
                    <a:pt x="923612" y="0"/>
                  </a:lnTo>
                  <a:lnTo>
                    <a:pt x="917712" y="38654"/>
                  </a:lnTo>
                  <a:cubicBezTo>
                    <a:pt x="836798" y="434072"/>
                    <a:pt x="486933" y="731520"/>
                    <a:pt x="67595" y="731520"/>
                  </a:cubicBezTo>
                  <a:lnTo>
                    <a:pt x="0" y="731520"/>
                  </a:lnTo>
                  <a:cubicBezTo>
                    <a:pt x="397694" y="731520"/>
                    <a:pt x="729502" y="449424"/>
                    <a:pt x="806240" y="74415"/>
                  </a:cubicBezTo>
                  <a:lnTo>
                    <a:pt x="817597" y="0"/>
                  </a:lnTo>
                  <a:close/>
                </a:path>
              </a:pathLst>
            </a:custGeom>
            <a:gradFill>
              <a:gsLst>
                <a:gs pos="0">
                  <a:schemeClr val="accent6">
                    <a:lumMod val="50000"/>
                  </a:schemeClr>
                </a:gs>
                <a:gs pos="74000">
                  <a:schemeClr val="accent6">
                    <a:lumMod val="50000"/>
                  </a:schemeClr>
                </a:gs>
                <a:gs pos="83000">
                  <a:schemeClr val="accent6">
                    <a:lumMod val="50000"/>
                  </a:schemeClr>
                </a:gs>
                <a:gs pos="100000">
                  <a:schemeClr val="accent6">
                    <a:lumMod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Rectangle 2"/>
          <p:cNvSpPr/>
          <p:nvPr/>
        </p:nvSpPr>
        <p:spPr>
          <a:xfrm>
            <a:off x="838200" y="-95905"/>
            <a:ext cx="10515600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5400" b="1" cap="none" spc="0" dirty="0" err="1" smtClean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accent6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পাঠ</a:t>
            </a:r>
            <a:r>
              <a:rPr lang="en-US" sz="5400" b="1" cap="none" spc="0" dirty="0" smtClean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accent6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5400" b="1" cap="none" spc="0" dirty="0" err="1" smtClean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accent6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ঘোষণা</a:t>
            </a:r>
            <a:r>
              <a:rPr lang="en-US" sz="5400" b="1" cap="none" spc="0" dirty="0" smtClean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accent6">
                    <a:lumMod val="50000"/>
                  </a:schemeClr>
                </a:solidFill>
                <a:effectLst>
                  <a:outerShdw dist="38100" dir="2700000" algn="bl" rotWithShape="0">
                    <a:schemeClr val="accent5"/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endParaRPr lang="en-US" sz="5400" b="1" cap="none" spc="0" dirty="0">
              <a:ln w="13462">
                <a:solidFill>
                  <a:schemeClr val="bg1"/>
                </a:solidFill>
                <a:prstDash val="solid"/>
              </a:ln>
              <a:solidFill>
                <a:schemeClr val="accent6">
                  <a:lumMod val="50000"/>
                </a:schemeClr>
              </a:solidFill>
              <a:effectLst>
                <a:outerShdw dist="38100" dir="2700000" algn="bl" rotWithShape="0">
                  <a:schemeClr val="accent5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8813519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6"/>
          <p:cNvSpPr txBox="1">
            <a:spLocks/>
          </p:cNvSpPr>
          <p:nvPr/>
        </p:nvSpPr>
        <p:spPr>
          <a:xfrm>
            <a:off x="2354900" y="2915832"/>
            <a:ext cx="7482200" cy="1251054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 baseline="0">
                <a:solidFill>
                  <a:schemeClr val="tx1"/>
                </a:solidFill>
                <a:latin typeface="NikoshBAN" panose="02000000000000000000" pitchFamily="2" charset="0"/>
                <a:ea typeface="+mj-ea"/>
                <a:cs typeface="NikoshBAN" panose="02000000000000000000" pitchFamily="2" charset="0"/>
              </a:defRPr>
            </a:lvl1pPr>
          </a:lstStyle>
          <a:p>
            <a:r>
              <a:rPr lang="en-US" sz="36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1। </a:t>
            </a:r>
            <a:r>
              <a:rPr lang="en-US" sz="3600" b="1" dirty="0" err="1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রাষ্ট্রীয়</a:t>
            </a:r>
            <a:r>
              <a:rPr lang="en-US" sz="36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 </a:t>
            </a:r>
            <a:r>
              <a:rPr lang="en-US" sz="3600" b="1" dirty="0" err="1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ব্যবসায়ের</a:t>
            </a:r>
            <a:r>
              <a:rPr lang="en-US" sz="36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 </a:t>
            </a:r>
            <a:r>
              <a:rPr lang="en-US" sz="3600" b="1" dirty="0" err="1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ধারণা</a:t>
            </a:r>
            <a:r>
              <a:rPr lang="en-US" sz="36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 </a:t>
            </a:r>
            <a:r>
              <a:rPr lang="en-US" sz="3600" b="1" dirty="0" err="1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ব্যাখ্যা</a:t>
            </a:r>
            <a:r>
              <a:rPr lang="en-US" sz="36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 </a:t>
            </a:r>
            <a:r>
              <a:rPr lang="en-US" sz="3600" b="1" dirty="0" err="1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করতে</a:t>
            </a:r>
            <a:r>
              <a:rPr lang="en-US" sz="36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 </a:t>
            </a:r>
            <a:r>
              <a:rPr lang="en-US" sz="3600" b="1" dirty="0" err="1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পারবে</a:t>
            </a:r>
            <a:r>
              <a:rPr lang="en-US" sz="36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;</a:t>
            </a:r>
          </a:p>
          <a:p>
            <a:r>
              <a:rPr lang="en-US" sz="36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২। </a:t>
            </a:r>
            <a:r>
              <a:rPr lang="en-US" sz="3600" b="1" dirty="0" err="1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রাষ্ট্রীয়</a:t>
            </a:r>
            <a:r>
              <a:rPr lang="en-US" sz="36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 </a:t>
            </a:r>
            <a:r>
              <a:rPr lang="en-US" sz="3600" b="1" dirty="0" err="1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ব্যবসায়ের</a:t>
            </a:r>
            <a:r>
              <a:rPr lang="en-US" sz="36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 </a:t>
            </a:r>
            <a:r>
              <a:rPr lang="en-US" sz="3600" b="1" dirty="0" err="1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বৈশিষ্ট্য</a:t>
            </a:r>
            <a:r>
              <a:rPr lang="en-US" sz="36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 </a:t>
            </a:r>
            <a:r>
              <a:rPr lang="en-US" sz="3600" b="1" dirty="0" err="1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ব্যাখ্যা</a:t>
            </a:r>
            <a:r>
              <a:rPr lang="en-US" sz="36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 </a:t>
            </a:r>
            <a:r>
              <a:rPr lang="en-US" sz="3600" b="1" dirty="0" err="1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করতে</a:t>
            </a:r>
            <a:r>
              <a:rPr lang="en-US" sz="36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 </a:t>
            </a:r>
            <a:r>
              <a:rPr lang="en-US" sz="3600" b="1" dirty="0" err="1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পারবে</a:t>
            </a:r>
            <a:r>
              <a:rPr lang="en-US" sz="36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;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0148" y="2838450"/>
            <a:ext cx="1181100" cy="1181100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 flipV="1">
            <a:off x="0" y="0"/>
            <a:ext cx="12192000" cy="731520"/>
            <a:chOff x="1003679" y="3038047"/>
            <a:chExt cx="9528183" cy="731520"/>
          </a:xfrm>
        </p:grpSpPr>
        <p:sp>
          <p:nvSpPr>
            <p:cNvPr id="6" name="Freeform 5"/>
            <p:cNvSpPr/>
            <p:nvPr/>
          </p:nvSpPr>
          <p:spPr>
            <a:xfrm>
              <a:off x="1109693" y="3038047"/>
              <a:ext cx="817597" cy="731520"/>
            </a:xfrm>
            <a:custGeom>
              <a:avLst/>
              <a:gdLst>
                <a:gd name="connsiteX0" fmla="*/ 0 w 817597"/>
                <a:gd name="connsiteY0" fmla="*/ 0 h 731520"/>
                <a:gd name="connsiteX1" fmla="*/ 86077 w 817597"/>
                <a:gd name="connsiteY1" fmla="*/ 0 h 731520"/>
                <a:gd name="connsiteX2" fmla="*/ 817597 w 817597"/>
                <a:gd name="connsiteY2" fmla="*/ 731520 h 731520"/>
                <a:gd name="connsiteX3" fmla="*/ 11357 w 817597"/>
                <a:gd name="connsiteY3" fmla="*/ 74415 h 731520"/>
                <a:gd name="connsiteX4" fmla="*/ 0 w 817597"/>
                <a:gd name="connsiteY4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597" h="731520">
                  <a:moveTo>
                    <a:pt x="0" y="0"/>
                  </a:moveTo>
                  <a:lnTo>
                    <a:pt x="86077" y="0"/>
                  </a:lnTo>
                  <a:cubicBezTo>
                    <a:pt x="86077" y="404007"/>
                    <a:pt x="413590" y="731520"/>
                    <a:pt x="817597" y="731520"/>
                  </a:cubicBezTo>
                  <a:cubicBezTo>
                    <a:pt x="419903" y="731520"/>
                    <a:pt x="88095" y="449424"/>
                    <a:pt x="11357" y="74415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A42700"/>
                </a:gs>
                <a:gs pos="74000">
                  <a:srgbClr val="A42700"/>
                </a:gs>
                <a:gs pos="83000">
                  <a:srgbClr val="A42700"/>
                </a:gs>
                <a:gs pos="100000">
                  <a:srgbClr val="A4270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Freeform 6"/>
            <p:cNvSpPr/>
            <p:nvPr/>
          </p:nvSpPr>
          <p:spPr>
            <a:xfrm>
              <a:off x="1287210" y="3038047"/>
              <a:ext cx="529509" cy="720374"/>
            </a:xfrm>
            <a:custGeom>
              <a:avLst/>
              <a:gdLst>
                <a:gd name="connsiteX0" fmla="*/ 9218 w 529509"/>
                <a:gd name="connsiteY0" fmla="*/ 0 h 720374"/>
                <a:gd name="connsiteX1" fmla="*/ 125033 w 529509"/>
                <a:gd name="connsiteY1" fmla="*/ 0 h 720374"/>
                <a:gd name="connsiteX2" fmla="*/ 102586 w 529509"/>
                <a:gd name="connsiteY2" fmla="*/ 72310 h 720374"/>
                <a:gd name="connsiteX3" fmla="*/ 91440 w 529509"/>
                <a:gd name="connsiteY3" fmla="*/ 182880 h 720374"/>
                <a:gd name="connsiteX4" fmla="*/ 426524 w 529509"/>
                <a:gd name="connsiteY4" fmla="*/ 688405 h 720374"/>
                <a:gd name="connsiteX5" fmla="*/ 529509 w 529509"/>
                <a:gd name="connsiteY5" fmla="*/ 720374 h 720374"/>
                <a:gd name="connsiteX6" fmla="*/ 511082 w 529509"/>
                <a:gd name="connsiteY6" fmla="*/ 718516 h 720374"/>
                <a:gd name="connsiteX7" fmla="*/ 0 w 529509"/>
                <a:gd name="connsiteY7" fmla="*/ 91440 h 720374"/>
                <a:gd name="connsiteX8" fmla="*/ 9218 w 529509"/>
                <a:gd name="connsiteY8" fmla="*/ 0 h 720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9509" h="720374">
                  <a:moveTo>
                    <a:pt x="9218" y="0"/>
                  </a:moveTo>
                  <a:lnTo>
                    <a:pt x="125033" y="0"/>
                  </a:lnTo>
                  <a:lnTo>
                    <a:pt x="102586" y="72310"/>
                  </a:lnTo>
                  <a:cubicBezTo>
                    <a:pt x="95278" y="108025"/>
                    <a:pt x="91440" y="145004"/>
                    <a:pt x="91440" y="182880"/>
                  </a:cubicBezTo>
                  <a:cubicBezTo>
                    <a:pt x="91440" y="410135"/>
                    <a:pt x="229609" y="605117"/>
                    <a:pt x="426524" y="688405"/>
                  </a:cubicBezTo>
                  <a:lnTo>
                    <a:pt x="529509" y="720374"/>
                  </a:lnTo>
                  <a:lnTo>
                    <a:pt x="511082" y="718516"/>
                  </a:lnTo>
                  <a:cubicBezTo>
                    <a:pt x="219408" y="658831"/>
                    <a:pt x="0" y="400758"/>
                    <a:pt x="0" y="91440"/>
                  </a:cubicBezTo>
                  <a:lnTo>
                    <a:pt x="9218" y="0"/>
                  </a:lnTo>
                  <a:close/>
                </a:path>
              </a:pathLst>
            </a:custGeom>
            <a:ln>
              <a:noFill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Freeform 7"/>
            <p:cNvSpPr/>
            <p:nvPr/>
          </p:nvSpPr>
          <p:spPr>
            <a:xfrm>
              <a:off x="9718822" y="3038047"/>
              <a:ext cx="529508" cy="720374"/>
            </a:xfrm>
            <a:custGeom>
              <a:avLst/>
              <a:gdLst>
                <a:gd name="connsiteX0" fmla="*/ 404475 w 529508"/>
                <a:gd name="connsiteY0" fmla="*/ 0 h 720374"/>
                <a:gd name="connsiteX1" fmla="*/ 520290 w 529508"/>
                <a:gd name="connsiteY1" fmla="*/ 0 h 720374"/>
                <a:gd name="connsiteX2" fmla="*/ 529508 w 529508"/>
                <a:gd name="connsiteY2" fmla="*/ 91440 h 720374"/>
                <a:gd name="connsiteX3" fmla="*/ 18426 w 529508"/>
                <a:gd name="connsiteY3" fmla="*/ 718516 h 720374"/>
                <a:gd name="connsiteX4" fmla="*/ 0 w 529508"/>
                <a:gd name="connsiteY4" fmla="*/ 720374 h 720374"/>
                <a:gd name="connsiteX5" fmla="*/ 102984 w 529508"/>
                <a:gd name="connsiteY5" fmla="*/ 688405 h 720374"/>
                <a:gd name="connsiteX6" fmla="*/ 438068 w 529508"/>
                <a:gd name="connsiteY6" fmla="*/ 182880 h 720374"/>
                <a:gd name="connsiteX7" fmla="*/ 426922 w 529508"/>
                <a:gd name="connsiteY7" fmla="*/ 72310 h 720374"/>
                <a:gd name="connsiteX8" fmla="*/ 404475 w 529508"/>
                <a:gd name="connsiteY8" fmla="*/ 0 h 720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9508" h="720374">
                  <a:moveTo>
                    <a:pt x="404475" y="0"/>
                  </a:moveTo>
                  <a:lnTo>
                    <a:pt x="520290" y="0"/>
                  </a:lnTo>
                  <a:lnTo>
                    <a:pt x="529508" y="91440"/>
                  </a:lnTo>
                  <a:cubicBezTo>
                    <a:pt x="529508" y="400758"/>
                    <a:pt x="310100" y="658831"/>
                    <a:pt x="18426" y="718516"/>
                  </a:cubicBezTo>
                  <a:lnTo>
                    <a:pt x="0" y="720374"/>
                  </a:lnTo>
                  <a:lnTo>
                    <a:pt x="102984" y="688405"/>
                  </a:lnTo>
                  <a:cubicBezTo>
                    <a:pt x="299899" y="605117"/>
                    <a:pt x="438068" y="410135"/>
                    <a:pt x="438068" y="182880"/>
                  </a:cubicBezTo>
                  <a:cubicBezTo>
                    <a:pt x="438068" y="145004"/>
                    <a:pt x="434230" y="108025"/>
                    <a:pt x="426922" y="72310"/>
                  </a:cubicBezTo>
                  <a:lnTo>
                    <a:pt x="404475" y="0"/>
                  </a:lnTo>
                  <a:close/>
                </a:path>
              </a:pathLst>
            </a:custGeom>
            <a:ln>
              <a:noFill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Freeform 8"/>
            <p:cNvSpPr/>
            <p:nvPr/>
          </p:nvSpPr>
          <p:spPr>
            <a:xfrm>
              <a:off x="9608250" y="3038047"/>
              <a:ext cx="817597" cy="731520"/>
            </a:xfrm>
            <a:custGeom>
              <a:avLst/>
              <a:gdLst>
                <a:gd name="connsiteX0" fmla="*/ 731520 w 817597"/>
                <a:gd name="connsiteY0" fmla="*/ 0 h 731520"/>
                <a:gd name="connsiteX1" fmla="*/ 817597 w 817597"/>
                <a:gd name="connsiteY1" fmla="*/ 0 h 731520"/>
                <a:gd name="connsiteX2" fmla="*/ 806240 w 817597"/>
                <a:gd name="connsiteY2" fmla="*/ 74415 h 731520"/>
                <a:gd name="connsiteX3" fmla="*/ 0 w 817597"/>
                <a:gd name="connsiteY3" fmla="*/ 731520 h 731520"/>
                <a:gd name="connsiteX4" fmla="*/ 731520 w 817597"/>
                <a:gd name="connsiteY4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597" h="731520">
                  <a:moveTo>
                    <a:pt x="731520" y="0"/>
                  </a:moveTo>
                  <a:lnTo>
                    <a:pt x="817597" y="0"/>
                  </a:lnTo>
                  <a:lnTo>
                    <a:pt x="806240" y="74415"/>
                  </a:lnTo>
                  <a:cubicBezTo>
                    <a:pt x="729502" y="449424"/>
                    <a:pt x="397694" y="731520"/>
                    <a:pt x="0" y="731520"/>
                  </a:cubicBezTo>
                  <a:cubicBezTo>
                    <a:pt x="404007" y="731520"/>
                    <a:pt x="731520" y="404007"/>
                    <a:pt x="731520" y="0"/>
                  </a:cubicBezTo>
                  <a:close/>
                </a:path>
              </a:pathLst>
            </a:custGeom>
            <a:gradFill>
              <a:gsLst>
                <a:gs pos="0">
                  <a:srgbClr val="A42700"/>
                </a:gs>
                <a:gs pos="74000">
                  <a:srgbClr val="A42700"/>
                </a:gs>
                <a:gs pos="83000">
                  <a:srgbClr val="A42700"/>
                </a:gs>
                <a:gs pos="100000">
                  <a:srgbClr val="A4270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Freeform 9"/>
            <p:cNvSpPr/>
            <p:nvPr/>
          </p:nvSpPr>
          <p:spPr>
            <a:xfrm>
              <a:off x="1816719" y="3758421"/>
              <a:ext cx="110571" cy="11146"/>
            </a:xfrm>
            <a:custGeom>
              <a:avLst/>
              <a:gdLst>
                <a:gd name="connsiteX0" fmla="*/ 0 w 110571"/>
                <a:gd name="connsiteY0" fmla="*/ 0 h 11146"/>
                <a:gd name="connsiteX1" fmla="*/ 110571 w 110571"/>
                <a:gd name="connsiteY1" fmla="*/ 11146 h 11146"/>
                <a:gd name="connsiteX2" fmla="*/ 1 w 110571"/>
                <a:gd name="connsiteY2" fmla="*/ 0 h 11146"/>
                <a:gd name="connsiteX3" fmla="*/ 0 w 110571"/>
                <a:gd name="connsiteY3" fmla="*/ 0 h 1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571" h="11146">
                  <a:moveTo>
                    <a:pt x="0" y="0"/>
                  </a:moveTo>
                  <a:lnTo>
                    <a:pt x="110571" y="11146"/>
                  </a:lnTo>
                  <a:cubicBezTo>
                    <a:pt x="72695" y="11146"/>
                    <a:pt x="35716" y="7308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Freeform 10"/>
            <p:cNvSpPr/>
            <p:nvPr/>
          </p:nvSpPr>
          <p:spPr>
            <a:xfrm>
              <a:off x="9608250" y="3758421"/>
              <a:ext cx="110572" cy="11146"/>
            </a:xfrm>
            <a:custGeom>
              <a:avLst/>
              <a:gdLst>
                <a:gd name="connsiteX0" fmla="*/ 110572 w 110572"/>
                <a:gd name="connsiteY0" fmla="*/ 0 h 11146"/>
                <a:gd name="connsiteX1" fmla="*/ 110570 w 110572"/>
                <a:gd name="connsiteY1" fmla="*/ 0 h 11146"/>
                <a:gd name="connsiteX2" fmla="*/ 0 w 110572"/>
                <a:gd name="connsiteY2" fmla="*/ 11146 h 11146"/>
                <a:gd name="connsiteX3" fmla="*/ 110572 w 110572"/>
                <a:gd name="connsiteY3" fmla="*/ 0 h 1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572" h="11146">
                  <a:moveTo>
                    <a:pt x="110572" y="0"/>
                  </a:moveTo>
                  <a:lnTo>
                    <a:pt x="110570" y="0"/>
                  </a:lnTo>
                  <a:cubicBezTo>
                    <a:pt x="74855" y="7308"/>
                    <a:pt x="37876" y="11146"/>
                    <a:pt x="0" y="11146"/>
                  </a:cubicBezTo>
                  <a:lnTo>
                    <a:pt x="110572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Freeform 11"/>
            <p:cNvSpPr/>
            <p:nvPr/>
          </p:nvSpPr>
          <p:spPr>
            <a:xfrm>
              <a:off x="1003679" y="3038047"/>
              <a:ext cx="923611" cy="731520"/>
            </a:xfrm>
            <a:custGeom>
              <a:avLst/>
              <a:gdLst>
                <a:gd name="connsiteX0" fmla="*/ 0 w 923611"/>
                <a:gd name="connsiteY0" fmla="*/ 0 h 731520"/>
                <a:gd name="connsiteX1" fmla="*/ 106014 w 923611"/>
                <a:gd name="connsiteY1" fmla="*/ 0 h 731520"/>
                <a:gd name="connsiteX2" fmla="*/ 117371 w 923611"/>
                <a:gd name="connsiteY2" fmla="*/ 74415 h 731520"/>
                <a:gd name="connsiteX3" fmla="*/ 923611 w 923611"/>
                <a:gd name="connsiteY3" fmla="*/ 731520 h 731520"/>
                <a:gd name="connsiteX4" fmla="*/ 856017 w 923611"/>
                <a:gd name="connsiteY4" fmla="*/ 731520 h 731520"/>
                <a:gd name="connsiteX5" fmla="*/ 5900 w 923611"/>
                <a:gd name="connsiteY5" fmla="*/ 38654 h 731520"/>
                <a:gd name="connsiteX6" fmla="*/ 0 w 923611"/>
                <a:gd name="connsiteY6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3611" h="731520">
                  <a:moveTo>
                    <a:pt x="0" y="0"/>
                  </a:moveTo>
                  <a:lnTo>
                    <a:pt x="106014" y="0"/>
                  </a:lnTo>
                  <a:lnTo>
                    <a:pt x="117371" y="74415"/>
                  </a:lnTo>
                  <a:cubicBezTo>
                    <a:pt x="194109" y="449424"/>
                    <a:pt x="525917" y="731520"/>
                    <a:pt x="923611" y="731520"/>
                  </a:cubicBezTo>
                  <a:lnTo>
                    <a:pt x="856017" y="731520"/>
                  </a:lnTo>
                  <a:cubicBezTo>
                    <a:pt x="436679" y="731520"/>
                    <a:pt x="86814" y="434072"/>
                    <a:pt x="5900" y="38654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chemeClr val="accent6">
                    <a:lumMod val="50000"/>
                  </a:schemeClr>
                </a:gs>
                <a:gs pos="74000">
                  <a:schemeClr val="accent6">
                    <a:lumMod val="50000"/>
                  </a:schemeClr>
                </a:gs>
                <a:gs pos="83000">
                  <a:schemeClr val="accent6">
                    <a:lumMod val="50000"/>
                  </a:schemeClr>
                </a:gs>
                <a:gs pos="100000">
                  <a:schemeClr val="accent6">
                    <a:lumMod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Freeform 12"/>
            <p:cNvSpPr/>
            <p:nvPr/>
          </p:nvSpPr>
          <p:spPr>
            <a:xfrm>
              <a:off x="1195770" y="3038047"/>
              <a:ext cx="731520" cy="731520"/>
            </a:xfrm>
            <a:custGeom>
              <a:avLst/>
              <a:gdLst>
                <a:gd name="connsiteX0" fmla="*/ 0 w 731520"/>
                <a:gd name="connsiteY0" fmla="*/ 0 h 731520"/>
                <a:gd name="connsiteX1" fmla="*/ 100658 w 731520"/>
                <a:gd name="connsiteY1" fmla="*/ 0 h 731520"/>
                <a:gd name="connsiteX2" fmla="*/ 91440 w 731520"/>
                <a:gd name="connsiteY2" fmla="*/ 91440 h 731520"/>
                <a:gd name="connsiteX3" fmla="*/ 602522 w 731520"/>
                <a:gd name="connsiteY3" fmla="*/ 718516 h 731520"/>
                <a:gd name="connsiteX4" fmla="*/ 620949 w 731520"/>
                <a:gd name="connsiteY4" fmla="*/ 720374 h 731520"/>
                <a:gd name="connsiteX5" fmla="*/ 620950 w 731520"/>
                <a:gd name="connsiteY5" fmla="*/ 720374 h 731520"/>
                <a:gd name="connsiteX6" fmla="*/ 731520 w 731520"/>
                <a:gd name="connsiteY6" fmla="*/ 731520 h 731520"/>
                <a:gd name="connsiteX7" fmla="*/ 0 w 731520"/>
                <a:gd name="connsiteY7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0" h="731520">
                  <a:moveTo>
                    <a:pt x="0" y="0"/>
                  </a:moveTo>
                  <a:lnTo>
                    <a:pt x="100658" y="0"/>
                  </a:lnTo>
                  <a:lnTo>
                    <a:pt x="91440" y="91440"/>
                  </a:lnTo>
                  <a:cubicBezTo>
                    <a:pt x="91440" y="400758"/>
                    <a:pt x="310848" y="658831"/>
                    <a:pt x="602522" y="718516"/>
                  </a:cubicBezTo>
                  <a:lnTo>
                    <a:pt x="620949" y="720374"/>
                  </a:lnTo>
                  <a:lnTo>
                    <a:pt x="620950" y="720374"/>
                  </a:lnTo>
                  <a:cubicBezTo>
                    <a:pt x="656665" y="727682"/>
                    <a:pt x="693644" y="731520"/>
                    <a:pt x="731520" y="731520"/>
                  </a:cubicBezTo>
                  <a:cubicBezTo>
                    <a:pt x="327513" y="731520"/>
                    <a:pt x="0" y="404007"/>
                    <a:pt x="0" y="0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Freeform 13"/>
            <p:cNvSpPr/>
            <p:nvPr/>
          </p:nvSpPr>
          <p:spPr>
            <a:xfrm>
              <a:off x="1378650" y="3038047"/>
              <a:ext cx="8778240" cy="731520"/>
            </a:xfrm>
            <a:custGeom>
              <a:avLst/>
              <a:gdLst>
                <a:gd name="connsiteX0" fmla="*/ 33593 w 8778240"/>
                <a:gd name="connsiteY0" fmla="*/ 0 h 731520"/>
                <a:gd name="connsiteX1" fmla="*/ 8744647 w 8778240"/>
                <a:gd name="connsiteY1" fmla="*/ 0 h 731520"/>
                <a:gd name="connsiteX2" fmla="*/ 8767094 w 8778240"/>
                <a:gd name="connsiteY2" fmla="*/ 72310 h 731520"/>
                <a:gd name="connsiteX3" fmla="*/ 8778240 w 8778240"/>
                <a:gd name="connsiteY3" fmla="*/ 182880 h 731520"/>
                <a:gd name="connsiteX4" fmla="*/ 8443156 w 8778240"/>
                <a:gd name="connsiteY4" fmla="*/ 688405 h 731520"/>
                <a:gd name="connsiteX5" fmla="*/ 8340172 w 8778240"/>
                <a:gd name="connsiteY5" fmla="*/ 720374 h 731520"/>
                <a:gd name="connsiteX6" fmla="*/ 8229600 w 8778240"/>
                <a:gd name="connsiteY6" fmla="*/ 731520 h 731520"/>
                <a:gd name="connsiteX7" fmla="*/ 548640 w 8778240"/>
                <a:gd name="connsiteY7" fmla="*/ 731520 h 731520"/>
                <a:gd name="connsiteX8" fmla="*/ 438069 w 8778240"/>
                <a:gd name="connsiteY8" fmla="*/ 720374 h 731520"/>
                <a:gd name="connsiteX9" fmla="*/ 335084 w 8778240"/>
                <a:gd name="connsiteY9" fmla="*/ 688405 h 731520"/>
                <a:gd name="connsiteX10" fmla="*/ 0 w 8778240"/>
                <a:gd name="connsiteY10" fmla="*/ 182880 h 731520"/>
                <a:gd name="connsiteX11" fmla="*/ 11146 w 8778240"/>
                <a:gd name="connsiteY11" fmla="*/ 72310 h 731520"/>
                <a:gd name="connsiteX12" fmla="*/ 33593 w 8778240"/>
                <a:gd name="connsiteY12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78240" h="731520">
                  <a:moveTo>
                    <a:pt x="33593" y="0"/>
                  </a:moveTo>
                  <a:lnTo>
                    <a:pt x="8744647" y="0"/>
                  </a:lnTo>
                  <a:lnTo>
                    <a:pt x="8767094" y="72310"/>
                  </a:lnTo>
                  <a:cubicBezTo>
                    <a:pt x="8774402" y="108025"/>
                    <a:pt x="8778240" y="145004"/>
                    <a:pt x="8778240" y="182880"/>
                  </a:cubicBezTo>
                  <a:cubicBezTo>
                    <a:pt x="8778240" y="410135"/>
                    <a:pt x="8640071" y="605117"/>
                    <a:pt x="8443156" y="688405"/>
                  </a:cubicBezTo>
                  <a:lnTo>
                    <a:pt x="8340172" y="720374"/>
                  </a:lnTo>
                  <a:lnTo>
                    <a:pt x="8229600" y="731520"/>
                  </a:lnTo>
                  <a:lnTo>
                    <a:pt x="548640" y="731520"/>
                  </a:lnTo>
                  <a:lnTo>
                    <a:pt x="438069" y="720374"/>
                  </a:lnTo>
                  <a:lnTo>
                    <a:pt x="335084" y="688405"/>
                  </a:lnTo>
                  <a:cubicBezTo>
                    <a:pt x="138169" y="605117"/>
                    <a:pt x="0" y="410135"/>
                    <a:pt x="0" y="182880"/>
                  </a:cubicBezTo>
                  <a:cubicBezTo>
                    <a:pt x="0" y="145004"/>
                    <a:pt x="3838" y="108025"/>
                    <a:pt x="11146" y="72310"/>
                  </a:cubicBezTo>
                  <a:lnTo>
                    <a:pt x="33593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Freeform 14"/>
            <p:cNvSpPr/>
            <p:nvPr/>
          </p:nvSpPr>
          <p:spPr>
            <a:xfrm>
              <a:off x="9608250" y="3038047"/>
              <a:ext cx="731520" cy="731520"/>
            </a:xfrm>
            <a:custGeom>
              <a:avLst/>
              <a:gdLst>
                <a:gd name="connsiteX0" fmla="*/ 630862 w 731520"/>
                <a:gd name="connsiteY0" fmla="*/ 0 h 731520"/>
                <a:gd name="connsiteX1" fmla="*/ 731520 w 731520"/>
                <a:gd name="connsiteY1" fmla="*/ 0 h 731520"/>
                <a:gd name="connsiteX2" fmla="*/ 0 w 731520"/>
                <a:gd name="connsiteY2" fmla="*/ 731520 h 731520"/>
                <a:gd name="connsiteX3" fmla="*/ 110570 w 731520"/>
                <a:gd name="connsiteY3" fmla="*/ 720374 h 731520"/>
                <a:gd name="connsiteX4" fmla="*/ 110572 w 731520"/>
                <a:gd name="connsiteY4" fmla="*/ 720374 h 731520"/>
                <a:gd name="connsiteX5" fmla="*/ 128998 w 731520"/>
                <a:gd name="connsiteY5" fmla="*/ 718516 h 731520"/>
                <a:gd name="connsiteX6" fmla="*/ 640080 w 731520"/>
                <a:gd name="connsiteY6" fmla="*/ 91440 h 731520"/>
                <a:gd name="connsiteX7" fmla="*/ 630862 w 731520"/>
                <a:gd name="connsiteY7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0" h="731520">
                  <a:moveTo>
                    <a:pt x="630862" y="0"/>
                  </a:moveTo>
                  <a:lnTo>
                    <a:pt x="731520" y="0"/>
                  </a:lnTo>
                  <a:cubicBezTo>
                    <a:pt x="731520" y="404007"/>
                    <a:pt x="404007" y="731520"/>
                    <a:pt x="0" y="731520"/>
                  </a:cubicBezTo>
                  <a:cubicBezTo>
                    <a:pt x="37876" y="731520"/>
                    <a:pt x="74855" y="727682"/>
                    <a:pt x="110570" y="720374"/>
                  </a:cubicBezTo>
                  <a:lnTo>
                    <a:pt x="110572" y="720374"/>
                  </a:lnTo>
                  <a:lnTo>
                    <a:pt x="128998" y="718516"/>
                  </a:lnTo>
                  <a:cubicBezTo>
                    <a:pt x="420672" y="658831"/>
                    <a:pt x="640080" y="400758"/>
                    <a:pt x="640080" y="91440"/>
                  </a:cubicBezTo>
                  <a:lnTo>
                    <a:pt x="630862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reeform 15"/>
            <p:cNvSpPr/>
            <p:nvPr/>
          </p:nvSpPr>
          <p:spPr>
            <a:xfrm>
              <a:off x="9608250" y="3038047"/>
              <a:ext cx="923612" cy="731520"/>
            </a:xfrm>
            <a:custGeom>
              <a:avLst/>
              <a:gdLst>
                <a:gd name="connsiteX0" fmla="*/ 817597 w 923612"/>
                <a:gd name="connsiteY0" fmla="*/ 0 h 731520"/>
                <a:gd name="connsiteX1" fmla="*/ 923612 w 923612"/>
                <a:gd name="connsiteY1" fmla="*/ 0 h 731520"/>
                <a:gd name="connsiteX2" fmla="*/ 917712 w 923612"/>
                <a:gd name="connsiteY2" fmla="*/ 38654 h 731520"/>
                <a:gd name="connsiteX3" fmla="*/ 67595 w 923612"/>
                <a:gd name="connsiteY3" fmla="*/ 731520 h 731520"/>
                <a:gd name="connsiteX4" fmla="*/ 0 w 923612"/>
                <a:gd name="connsiteY4" fmla="*/ 731520 h 731520"/>
                <a:gd name="connsiteX5" fmla="*/ 806240 w 923612"/>
                <a:gd name="connsiteY5" fmla="*/ 74415 h 731520"/>
                <a:gd name="connsiteX6" fmla="*/ 817597 w 923612"/>
                <a:gd name="connsiteY6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3612" h="731520">
                  <a:moveTo>
                    <a:pt x="817597" y="0"/>
                  </a:moveTo>
                  <a:lnTo>
                    <a:pt x="923612" y="0"/>
                  </a:lnTo>
                  <a:lnTo>
                    <a:pt x="917712" y="38654"/>
                  </a:lnTo>
                  <a:cubicBezTo>
                    <a:pt x="836798" y="434072"/>
                    <a:pt x="486933" y="731520"/>
                    <a:pt x="67595" y="731520"/>
                  </a:cubicBezTo>
                  <a:lnTo>
                    <a:pt x="0" y="731520"/>
                  </a:lnTo>
                  <a:cubicBezTo>
                    <a:pt x="397694" y="731520"/>
                    <a:pt x="729502" y="449424"/>
                    <a:pt x="806240" y="74415"/>
                  </a:cubicBezTo>
                  <a:lnTo>
                    <a:pt x="817597" y="0"/>
                  </a:lnTo>
                  <a:close/>
                </a:path>
              </a:pathLst>
            </a:custGeom>
            <a:gradFill>
              <a:gsLst>
                <a:gs pos="0">
                  <a:schemeClr val="accent6">
                    <a:lumMod val="50000"/>
                  </a:schemeClr>
                </a:gs>
                <a:gs pos="74000">
                  <a:schemeClr val="accent6">
                    <a:lumMod val="50000"/>
                  </a:schemeClr>
                </a:gs>
                <a:gs pos="83000">
                  <a:schemeClr val="accent6">
                    <a:lumMod val="50000"/>
                  </a:schemeClr>
                </a:gs>
                <a:gs pos="100000">
                  <a:schemeClr val="accent6">
                    <a:lumMod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0" y="6126480"/>
            <a:ext cx="12192000" cy="731520"/>
            <a:chOff x="1003679" y="3038047"/>
            <a:chExt cx="9528183" cy="731520"/>
          </a:xfrm>
        </p:grpSpPr>
        <p:sp>
          <p:nvSpPr>
            <p:cNvPr id="18" name="Freeform 17"/>
            <p:cNvSpPr/>
            <p:nvPr/>
          </p:nvSpPr>
          <p:spPr>
            <a:xfrm>
              <a:off x="1109693" y="3038047"/>
              <a:ext cx="817597" cy="731520"/>
            </a:xfrm>
            <a:custGeom>
              <a:avLst/>
              <a:gdLst>
                <a:gd name="connsiteX0" fmla="*/ 0 w 817597"/>
                <a:gd name="connsiteY0" fmla="*/ 0 h 731520"/>
                <a:gd name="connsiteX1" fmla="*/ 86077 w 817597"/>
                <a:gd name="connsiteY1" fmla="*/ 0 h 731520"/>
                <a:gd name="connsiteX2" fmla="*/ 817597 w 817597"/>
                <a:gd name="connsiteY2" fmla="*/ 731520 h 731520"/>
                <a:gd name="connsiteX3" fmla="*/ 11357 w 817597"/>
                <a:gd name="connsiteY3" fmla="*/ 74415 h 731520"/>
                <a:gd name="connsiteX4" fmla="*/ 0 w 817597"/>
                <a:gd name="connsiteY4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597" h="731520">
                  <a:moveTo>
                    <a:pt x="0" y="0"/>
                  </a:moveTo>
                  <a:lnTo>
                    <a:pt x="86077" y="0"/>
                  </a:lnTo>
                  <a:cubicBezTo>
                    <a:pt x="86077" y="404007"/>
                    <a:pt x="413590" y="731520"/>
                    <a:pt x="817597" y="731520"/>
                  </a:cubicBezTo>
                  <a:cubicBezTo>
                    <a:pt x="419903" y="731520"/>
                    <a:pt x="88095" y="449424"/>
                    <a:pt x="11357" y="74415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A42700"/>
                </a:gs>
                <a:gs pos="74000">
                  <a:srgbClr val="A42700"/>
                </a:gs>
                <a:gs pos="83000">
                  <a:srgbClr val="A42700"/>
                </a:gs>
                <a:gs pos="100000">
                  <a:srgbClr val="A4270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reeform 18"/>
            <p:cNvSpPr/>
            <p:nvPr/>
          </p:nvSpPr>
          <p:spPr>
            <a:xfrm>
              <a:off x="1287210" y="3038047"/>
              <a:ext cx="529509" cy="720374"/>
            </a:xfrm>
            <a:custGeom>
              <a:avLst/>
              <a:gdLst>
                <a:gd name="connsiteX0" fmla="*/ 9218 w 529509"/>
                <a:gd name="connsiteY0" fmla="*/ 0 h 720374"/>
                <a:gd name="connsiteX1" fmla="*/ 125033 w 529509"/>
                <a:gd name="connsiteY1" fmla="*/ 0 h 720374"/>
                <a:gd name="connsiteX2" fmla="*/ 102586 w 529509"/>
                <a:gd name="connsiteY2" fmla="*/ 72310 h 720374"/>
                <a:gd name="connsiteX3" fmla="*/ 91440 w 529509"/>
                <a:gd name="connsiteY3" fmla="*/ 182880 h 720374"/>
                <a:gd name="connsiteX4" fmla="*/ 426524 w 529509"/>
                <a:gd name="connsiteY4" fmla="*/ 688405 h 720374"/>
                <a:gd name="connsiteX5" fmla="*/ 529509 w 529509"/>
                <a:gd name="connsiteY5" fmla="*/ 720374 h 720374"/>
                <a:gd name="connsiteX6" fmla="*/ 511082 w 529509"/>
                <a:gd name="connsiteY6" fmla="*/ 718516 h 720374"/>
                <a:gd name="connsiteX7" fmla="*/ 0 w 529509"/>
                <a:gd name="connsiteY7" fmla="*/ 91440 h 720374"/>
                <a:gd name="connsiteX8" fmla="*/ 9218 w 529509"/>
                <a:gd name="connsiteY8" fmla="*/ 0 h 720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9509" h="720374">
                  <a:moveTo>
                    <a:pt x="9218" y="0"/>
                  </a:moveTo>
                  <a:lnTo>
                    <a:pt x="125033" y="0"/>
                  </a:lnTo>
                  <a:lnTo>
                    <a:pt x="102586" y="72310"/>
                  </a:lnTo>
                  <a:cubicBezTo>
                    <a:pt x="95278" y="108025"/>
                    <a:pt x="91440" y="145004"/>
                    <a:pt x="91440" y="182880"/>
                  </a:cubicBezTo>
                  <a:cubicBezTo>
                    <a:pt x="91440" y="410135"/>
                    <a:pt x="229609" y="605117"/>
                    <a:pt x="426524" y="688405"/>
                  </a:cubicBezTo>
                  <a:lnTo>
                    <a:pt x="529509" y="720374"/>
                  </a:lnTo>
                  <a:lnTo>
                    <a:pt x="511082" y="718516"/>
                  </a:lnTo>
                  <a:cubicBezTo>
                    <a:pt x="219408" y="658831"/>
                    <a:pt x="0" y="400758"/>
                    <a:pt x="0" y="91440"/>
                  </a:cubicBezTo>
                  <a:lnTo>
                    <a:pt x="9218" y="0"/>
                  </a:lnTo>
                  <a:close/>
                </a:path>
              </a:pathLst>
            </a:custGeom>
            <a:ln>
              <a:noFill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reeform 19"/>
            <p:cNvSpPr/>
            <p:nvPr/>
          </p:nvSpPr>
          <p:spPr>
            <a:xfrm>
              <a:off x="9718822" y="3038047"/>
              <a:ext cx="529508" cy="720374"/>
            </a:xfrm>
            <a:custGeom>
              <a:avLst/>
              <a:gdLst>
                <a:gd name="connsiteX0" fmla="*/ 404475 w 529508"/>
                <a:gd name="connsiteY0" fmla="*/ 0 h 720374"/>
                <a:gd name="connsiteX1" fmla="*/ 520290 w 529508"/>
                <a:gd name="connsiteY1" fmla="*/ 0 h 720374"/>
                <a:gd name="connsiteX2" fmla="*/ 529508 w 529508"/>
                <a:gd name="connsiteY2" fmla="*/ 91440 h 720374"/>
                <a:gd name="connsiteX3" fmla="*/ 18426 w 529508"/>
                <a:gd name="connsiteY3" fmla="*/ 718516 h 720374"/>
                <a:gd name="connsiteX4" fmla="*/ 0 w 529508"/>
                <a:gd name="connsiteY4" fmla="*/ 720374 h 720374"/>
                <a:gd name="connsiteX5" fmla="*/ 102984 w 529508"/>
                <a:gd name="connsiteY5" fmla="*/ 688405 h 720374"/>
                <a:gd name="connsiteX6" fmla="*/ 438068 w 529508"/>
                <a:gd name="connsiteY6" fmla="*/ 182880 h 720374"/>
                <a:gd name="connsiteX7" fmla="*/ 426922 w 529508"/>
                <a:gd name="connsiteY7" fmla="*/ 72310 h 720374"/>
                <a:gd name="connsiteX8" fmla="*/ 404475 w 529508"/>
                <a:gd name="connsiteY8" fmla="*/ 0 h 720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9508" h="720374">
                  <a:moveTo>
                    <a:pt x="404475" y="0"/>
                  </a:moveTo>
                  <a:lnTo>
                    <a:pt x="520290" y="0"/>
                  </a:lnTo>
                  <a:lnTo>
                    <a:pt x="529508" y="91440"/>
                  </a:lnTo>
                  <a:cubicBezTo>
                    <a:pt x="529508" y="400758"/>
                    <a:pt x="310100" y="658831"/>
                    <a:pt x="18426" y="718516"/>
                  </a:cubicBezTo>
                  <a:lnTo>
                    <a:pt x="0" y="720374"/>
                  </a:lnTo>
                  <a:lnTo>
                    <a:pt x="102984" y="688405"/>
                  </a:lnTo>
                  <a:cubicBezTo>
                    <a:pt x="299899" y="605117"/>
                    <a:pt x="438068" y="410135"/>
                    <a:pt x="438068" y="182880"/>
                  </a:cubicBezTo>
                  <a:cubicBezTo>
                    <a:pt x="438068" y="145004"/>
                    <a:pt x="434230" y="108025"/>
                    <a:pt x="426922" y="72310"/>
                  </a:cubicBezTo>
                  <a:lnTo>
                    <a:pt x="404475" y="0"/>
                  </a:lnTo>
                  <a:close/>
                </a:path>
              </a:pathLst>
            </a:custGeom>
            <a:ln>
              <a:noFill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Freeform 20"/>
            <p:cNvSpPr/>
            <p:nvPr/>
          </p:nvSpPr>
          <p:spPr>
            <a:xfrm>
              <a:off x="9608250" y="3038047"/>
              <a:ext cx="817597" cy="731520"/>
            </a:xfrm>
            <a:custGeom>
              <a:avLst/>
              <a:gdLst>
                <a:gd name="connsiteX0" fmla="*/ 731520 w 817597"/>
                <a:gd name="connsiteY0" fmla="*/ 0 h 731520"/>
                <a:gd name="connsiteX1" fmla="*/ 817597 w 817597"/>
                <a:gd name="connsiteY1" fmla="*/ 0 h 731520"/>
                <a:gd name="connsiteX2" fmla="*/ 806240 w 817597"/>
                <a:gd name="connsiteY2" fmla="*/ 74415 h 731520"/>
                <a:gd name="connsiteX3" fmla="*/ 0 w 817597"/>
                <a:gd name="connsiteY3" fmla="*/ 731520 h 731520"/>
                <a:gd name="connsiteX4" fmla="*/ 731520 w 817597"/>
                <a:gd name="connsiteY4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597" h="731520">
                  <a:moveTo>
                    <a:pt x="731520" y="0"/>
                  </a:moveTo>
                  <a:lnTo>
                    <a:pt x="817597" y="0"/>
                  </a:lnTo>
                  <a:lnTo>
                    <a:pt x="806240" y="74415"/>
                  </a:lnTo>
                  <a:cubicBezTo>
                    <a:pt x="729502" y="449424"/>
                    <a:pt x="397694" y="731520"/>
                    <a:pt x="0" y="731520"/>
                  </a:cubicBezTo>
                  <a:cubicBezTo>
                    <a:pt x="404007" y="731520"/>
                    <a:pt x="731520" y="404007"/>
                    <a:pt x="731520" y="0"/>
                  </a:cubicBezTo>
                  <a:close/>
                </a:path>
              </a:pathLst>
            </a:custGeom>
            <a:gradFill>
              <a:gsLst>
                <a:gs pos="0">
                  <a:srgbClr val="A42700"/>
                </a:gs>
                <a:gs pos="74000">
                  <a:srgbClr val="A42700"/>
                </a:gs>
                <a:gs pos="83000">
                  <a:srgbClr val="A42700"/>
                </a:gs>
                <a:gs pos="100000">
                  <a:srgbClr val="A4270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Freeform 21"/>
            <p:cNvSpPr/>
            <p:nvPr/>
          </p:nvSpPr>
          <p:spPr>
            <a:xfrm>
              <a:off x="1816719" y="3758421"/>
              <a:ext cx="110571" cy="11146"/>
            </a:xfrm>
            <a:custGeom>
              <a:avLst/>
              <a:gdLst>
                <a:gd name="connsiteX0" fmla="*/ 0 w 110571"/>
                <a:gd name="connsiteY0" fmla="*/ 0 h 11146"/>
                <a:gd name="connsiteX1" fmla="*/ 110571 w 110571"/>
                <a:gd name="connsiteY1" fmla="*/ 11146 h 11146"/>
                <a:gd name="connsiteX2" fmla="*/ 1 w 110571"/>
                <a:gd name="connsiteY2" fmla="*/ 0 h 11146"/>
                <a:gd name="connsiteX3" fmla="*/ 0 w 110571"/>
                <a:gd name="connsiteY3" fmla="*/ 0 h 1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571" h="11146">
                  <a:moveTo>
                    <a:pt x="0" y="0"/>
                  </a:moveTo>
                  <a:lnTo>
                    <a:pt x="110571" y="11146"/>
                  </a:lnTo>
                  <a:cubicBezTo>
                    <a:pt x="72695" y="11146"/>
                    <a:pt x="35716" y="7308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Freeform 22"/>
            <p:cNvSpPr/>
            <p:nvPr/>
          </p:nvSpPr>
          <p:spPr>
            <a:xfrm>
              <a:off x="9608250" y="3758421"/>
              <a:ext cx="110572" cy="11146"/>
            </a:xfrm>
            <a:custGeom>
              <a:avLst/>
              <a:gdLst>
                <a:gd name="connsiteX0" fmla="*/ 110572 w 110572"/>
                <a:gd name="connsiteY0" fmla="*/ 0 h 11146"/>
                <a:gd name="connsiteX1" fmla="*/ 110570 w 110572"/>
                <a:gd name="connsiteY1" fmla="*/ 0 h 11146"/>
                <a:gd name="connsiteX2" fmla="*/ 0 w 110572"/>
                <a:gd name="connsiteY2" fmla="*/ 11146 h 11146"/>
                <a:gd name="connsiteX3" fmla="*/ 110572 w 110572"/>
                <a:gd name="connsiteY3" fmla="*/ 0 h 1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572" h="11146">
                  <a:moveTo>
                    <a:pt x="110572" y="0"/>
                  </a:moveTo>
                  <a:lnTo>
                    <a:pt x="110570" y="0"/>
                  </a:lnTo>
                  <a:cubicBezTo>
                    <a:pt x="74855" y="7308"/>
                    <a:pt x="37876" y="11146"/>
                    <a:pt x="0" y="11146"/>
                  </a:cubicBezTo>
                  <a:lnTo>
                    <a:pt x="110572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Freeform 23"/>
            <p:cNvSpPr/>
            <p:nvPr/>
          </p:nvSpPr>
          <p:spPr>
            <a:xfrm>
              <a:off x="1003679" y="3038047"/>
              <a:ext cx="923611" cy="731520"/>
            </a:xfrm>
            <a:custGeom>
              <a:avLst/>
              <a:gdLst>
                <a:gd name="connsiteX0" fmla="*/ 0 w 923611"/>
                <a:gd name="connsiteY0" fmla="*/ 0 h 731520"/>
                <a:gd name="connsiteX1" fmla="*/ 106014 w 923611"/>
                <a:gd name="connsiteY1" fmla="*/ 0 h 731520"/>
                <a:gd name="connsiteX2" fmla="*/ 117371 w 923611"/>
                <a:gd name="connsiteY2" fmla="*/ 74415 h 731520"/>
                <a:gd name="connsiteX3" fmla="*/ 923611 w 923611"/>
                <a:gd name="connsiteY3" fmla="*/ 731520 h 731520"/>
                <a:gd name="connsiteX4" fmla="*/ 856017 w 923611"/>
                <a:gd name="connsiteY4" fmla="*/ 731520 h 731520"/>
                <a:gd name="connsiteX5" fmla="*/ 5900 w 923611"/>
                <a:gd name="connsiteY5" fmla="*/ 38654 h 731520"/>
                <a:gd name="connsiteX6" fmla="*/ 0 w 923611"/>
                <a:gd name="connsiteY6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3611" h="731520">
                  <a:moveTo>
                    <a:pt x="0" y="0"/>
                  </a:moveTo>
                  <a:lnTo>
                    <a:pt x="106014" y="0"/>
                  </a:lnTo>
                  <a:lnTo>
                    <a:pt x="117371" y="74415"/>
                  </a:lnTo>
                  <a:cubicBezTo>
                    <a:pt x="194109" y="449424"/>
                    <a:pt x="525917" y="731520"/>
                    <a:pt x="923611" y="731520"/>
                  </a:cubicBezTo>
                  <a:lnTo>
                    <a:pt x="856017" y="731520"/>
                  </a:lnTo>
                  <a:cubicBezTo>
                    <a:pt x="436679" y="731520"/>
                    <a:pt x="86814" y="434072"/>
                    <a:pt x="5900" y="38654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chemeClr val="accent6">
                    <a:lumMod val="50000"/>
                  </a:schemeClr>
                </a:gs>
                <a:gs pos="74000">
                  <a:schemeClr val="accent6">
                    <a:lumMod val="50000"/>
                  </a:schemeClr>
                </a:gs>
                <a:gs pos="83000">
                  <a:schemeClr val="accent6">
                    <a:lumMod val="50000"/>
                  </a:schemeClr>
                </a:gs>
                <a:gs pos="100000">
                  <a:schemeClr val="accent6">
                    <a:lumMod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Freeform 24"/>
            <p:cNvSpPr/>
            <p:nvPr/>
          </p:nvSpPr>
          <p:spPr>
            <a:xfrm>
              <a:off x="1195770" y="3038047"/>
              <a:ext cx="731520" cy="731520"/>
            </a:xfrm>
            <a:custGeom>
              <a:avLst/>
              <a:gdLst>
                <a:gd name="connsiteX0" fmla="*/ 0 w 731520"/>
                <a:gd name="connsiteY0" fmla="*/ 0 h 731520"/>
                <a:gd name="connsiteX1" fmla="*/ 100658 w 731520"/>
                <a:gd name="connsiteY1" fmla="*/ 0 h 731520"/>
                <a:gd name="connsiteX2" fmla="*/ 91440 w 731520"/>
                <a:gd name="connsiteY2" fmla="*/ 91440 h 731520"/>
                <a:gd name="connsiteX3" fmla="*/ 602522 w 731520"/>
                <a:gd name="connsiteY3" fmla="*/ 718516 h 731520"/>
                <a:gd name="connsiteX4" fmla="*/ 620949 w 731520"/>
                <a:gd name="connsiteY4" fmla="*/ 720374 h 731520"/>
                <a:gd name="connsiteX5" fmla="*/ 620950 w 731520"/>
                <a:gd name="connsiteY5" fmla="*/ 720374 h 731520"/>
                <a:gd name="connsiteX6" fmla="*/ 731520 w 731520"/>
                <a:gd name="connsiteY6" fmla="*/ 731520 h 731520"/>
                <a:gd name="connsiteX7" fmla="*/ 0 w 731520"/>
                <a:gd name="connsiteY7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0" h="731520">
                  <a:moveTo>
                    <a:pt x="0" y="0"/>
                  </a:moveTo>
                  <a:lnTo>
                    <a:pt x="100658" y="0"/>
                  </a:lnTo>
                  <a:lnTo>
                    <a:pt x="91440" y="91440"/>
                  </a:lnTo>
                  <a:cubicBezTo>
                    <a:pt x="91440" y="400758"/>
                    <a:pt x="310848" y="658831"/>
                    <a:pt x="602522" y="718516"/>
                  </a:cubicBezTo>
                  <a:lnTo>
                    <a:pt x="620949" y="720374"/>
                  </a:lnTo>
                  <a:lnTo>
                    <a:pt x="620950" y="720374"/>
                  </a:lnTo>
                  <a:cubicBezTo>
                    <a:pt x="656665" y="727682"/>
                    <a:pt x="693644" y="731520"/>
                    <a:pt x="731520" y="731520"/>
                  </a:cubicBezTo>
                  <a:cubicBezTo>
                    <a:pt x="327513" y="731520"/>
                    <a:pt x="0" y="404007"/>
                    <a:pt x="0" y="0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Freeform 25"/>
            <p:cNvSpPr/>
            <p:nvPr/>
          </p:nvSpPr>
          <p:spPr>
            <a:xfrm>
              <a:off x="1378650" y="3038047"/>
              <a:ext cx="8778240" cy="731520"/>
            </a:xfrm>
            <a:custGeom>
              <a:avLst/>
              <a:gdLst>
                <a:gd name="connsiteX0" fmla="*/ 33593 w 8778240"/>
                <a:gd name="connsiteY0" fmla="*/ 0 h 731520"/>
                <a:gd name="connsiteX1" fmla="*/ 8744647 w 8778240"/>
                <a:gd name="connsiteY1" fmla="*/ 0 h 731520"/>
                <a:gd name="connsiteX2" fmla="*/ 8767094 w 8778240"/>
                <a:gd name="connsiteY2" fmla="*/ 72310 h 731520"/>
                <a:gd name="connsiteX3" fmla="*/ 8778240 w 8778240"/>
                <a:gd name="connsiteY3" fmla="*/ 182880 h 731520"/>
                <a:gd name="connsiteX4" fmla="*/ 8443156 w 8778240"/>
                <a:gd name="connsiteY4" fmla="*/ 688405 h 731520"/>
                <a:gd name="connsiteX5" fmla="*/ 8340172 w 8778240"/>
                <a:gd name="connsiteY5" fmla="*/ 720374 h 731520"/>
                <a:gd name="connsiteX6" fmla="*/ 8229600 w 8778240"/>
                <a:gd name="connsiteY6" fmla="*/ 731520 h 731520"/>
                <a:gd name="connsiteX7" fmla="*/ 548640 w 8778240"/>
                <a:gd name="connsiteY7" fmla="*/ 731520 h 731520"/>
                <a:gd name="connsiteX8" fmla="*/ 438069 w 8778240"/>
                <a:gd name="connsiteY8" fmla="*/ 720374 h 731520"/>
                <a:gd name="connsiteX9" fmla="*/ 335084 w 8778240"/>
                <a:gd name="connsiteY9" fmla="*/ 688405 h 731520"/>
                <a:gd name="connsiteX10" fmla="*/ 0 w 8778240"/>
                <a:gd name="connsiteY10" fmla="*/ 182880 h 731520"/>
                <a:gd name="connsiteX11" fmla="*/ 11146 w 8778240"/>
                <a:gd name="connsiteY11" fmla="*/ 72310 h 731520"/>
                <a:gd name="connsiteX12" fmla="*/ 33593 w 8778240"/>
                <a:gd name="connsiteY12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78240" h="731520">
                  <a:moveTo>
                    <a:pt x="33593" y="0"/>
                  </a:moveTo>
                  <a:lnTo>
                    <a:pt x="8744647" y="0"/>
                  </a:lnTo>
                  <a:lnTo>
                    <a:pt x="8767094" y="72310"/>
                  </a:lnTo>
                  <a:cubicBezTo>
                    <a:pt x="8774402" y="108025"/>
                    <a:pt x="8778240" y="145004"/>
                    <a:pt x="8778240" y="182880"/>
                  </a:cubicBezTo>
                  <a:cubicBezTo>
                    <a:pt x="8778240" y="410135"/>
                    <a:pt x="8640071" y="605117"/>
                    <a:pt x="8443156" y="688405"/>
                  </a:cubicBezTo>
                  <a:lnTo>
                    <a:pt x="8340172" y="720374"/>
                  </a:lnTo>
                  <a:lnTo>
                    <a:pt x="8229600" y="731520"/>
                  </a:lnTo>
                  <a:lnTo>
                    <a:pt x="548640" y="731520"/>
                  </a:lnTo>
                  <a:lnTo>
                    <a:pt x="438069" y="720374"/>
                  </a:lnTo>
                  <a:lnTo>
                    <a:pt x="335084" y="688405"/>
                  </a:lnTo>
                  <a:cubicBezTo>
                    <a:pt x="138169" y="605117"/>
                    <a:pt x="0" y="410135"/>
                    <a:pt x="0" y="182880"/>
                  </a:cubicBezTo>
                  <a:cubicBezTo>
                    <a:pt x="0" y="145004"/>
                    <a:pt x="3838" y="108025"/>
                    <a:pt x="11146" y="72310"/>
                  </a:cubicBezTo>
                  <a:lnTo>
                    <a:pt x="33593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Freeform 26"/>
            <p:cNvSpPr/>
            <p:nvPr/>
          </p:nvSpPr>
          <p:spPr>
            <a:xfrm>
              <a:off x="9608250" y="3038047"/>
              <a:ext cx="731520" cy="731520"/>
            </a:xfrm>
            <a:custGeom>
              <a:avLst/>
              <a:gdLst>
                <a:gd name="connsiteX0" fmla="*/ 630862 w 731520"/>
                <a:gd name="connsiteY0" fmla="*/ 0 h 731520"/>
                <a:gd name="connsiteX1" fmla="*/ 731520 w 731520"/>
                <a:gd name="connsiteY1" fmla="*/ 0 h 731520"/>
                <a:gd name="connsiteX2" fmla="*/ 0 w 731520"/>
                <a:gd name="connsiteY2" fmla="*/ 731520 h 731520"/>
                <a:gd name="connsiteX3" fmla="*/ 110570 w 731520"/>
                <a:gd name="connsiteY3" fmla="*/ 720374 h 731520"/>
                <a:gd name="connsiteX4" fmla="*/ 110572 w 731520"/>
                <a:gd name="connsiteY4" fmla="*/ 720374 h 731520"/>
                <a:gd name="connsiteX5" fmla="*/ 128998 w 731520"/>
                <a:gd name="connsiteY5" fmla="*/ 718516 h 731520"/>
                <a:gd name="connsiteX6" fmla="*/ 640080 w 731520"/>
                <a:gd name="connsiteY6" fmla="*/ 91440 h 731520"/>
                <a:gd name="connsiteX7" fmla="*/ 630862 w 731520"/>
                <a:gd name="connsiteY7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0" h="731520">
                  <a:moveTo>
                    <a:pt x="630862" y="0"/>
                  </a:moveTo>
                  <a:lnTo>
                    <a:pt x="731520" y="0"/>
                  </a:lnTo>
                  <a:cubicBezTo>
                    <a:pt x="731520" y="404007"/>
                    <a:pt x="404007" y="731520"/>
                    <a:pt x="0" y="731520"/>
                  </a:cubicBezTo>
                  <a:cubicBezTo>
                    <a:pt x="37876" y="731520"/>
                    <a:pt x="74855" y="727682"/>
                    <a:pt x="110570" y="720374"/>
                  </a:cubicBezTo>
                  <a:lnTo>
                    <a:pt x="110572" y="720374"/>
                  </a:lnTo>
                  <a:lnTo>
                    <a:pt x="128998" y="718516"/>
                  </a:lnTo>
                  <a:cubicBezTo>
                    <a:pt x="420672" y="658831"/>
                    <a:pt x="640080" y="400758"/>
                    <a:pt x="640080" y="91440"/>
                  </a:cubicBezTo>
                  <a:lnTo>
                    <a:pt x="630862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Freeform 27"/>
            <p:cNvSpPr/>
            <p:nvPr/>
          </p:nvSpPr>
          <p:spPr>
            <a:xfrm>
              <a:off x="9608250" y="3038047"/>
              <a:ext cx="923612" cy="731520"/>
            </a:xfrm>
            <a:custGeom>
              <a:avLst/>
              <a:gdLst>
                <a:gd name="connsiteX0" fmla="*/ 817597 w 923612"/>
                <a:gd name="connsiteY0" fmla="*/ 0 h 731520"/>
                <a:gd name="connsiteX1" fmla="*/ 923612 w 923612"/>
                <a:gd name="connsiteY1" fmla="*/ 0 h 731520"/>
                <a:gd name="connsiteX2" fmla="*/ 917712 w 923612"/>
                <a:gd name="connsiteY2" fmla="*/ 38654 h 731520"/>
                <a:gd name="connsiteX3" fmla="*/ 67595 w 923612"/>
                <a:gd name="connsiteY3" fmla="*/ 731520 h 731520"/>
                <a:gd name="connsiteX4" fmla="*/ 0 w 923612"/>
                <a:gd name="connsiteY4" fmla="*/ 731520 h 731520"/>
                <a:gd name="connsiteX5" fmla="*/ 806240 w 923612"/>
                <a:gd name="connsiteY5" fmla="*/ 74415 h 731520"/>
                <a:gd name="connsiteX6" fmla="*/ 817597 w 923612"/>
                <a:gd name="connsiteY6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3612" h="731520">
                  <a:moveTo>
                    <a:pt x="817597" y="0"/>
                  </a:moveTo>
                  <a:lnTo>
                    <a:pt x="923612" y="0"/>
                  </a:lnTo>
                  <a:lnTo>
                    <a:pt x="917712" y="38654"/>
                  </a:lnTo>
                  <a:cubicBezTo>
                    <a:pt x="836798" y="434072"/>
                    <a:pt x="486933" y="731520"/>
                    <a:pt x="67595" y="731520"/>
                  </a:cubicBezTo>
                  <a:lnTo>
                    <a:pt x="0" y="731520"/>
                  </a:lnTo>
                  <a:cubicBezTo>
                    <a:pt x="397694" y="731520"/>
                    <a:pt x="729502" y="449424"/>
                    <a:pt x="806240" y="74415"/>
                  </a:cubicBezTo>
                  <a:lnTo>
                    <a:pt x="817597" y="0"/>
                  </a:lnTo>
                  <a:close/>
                </a:path>
              </a:pathLst>
            </a:custGeom>
            <a:gradFill>
              <a:gsLst>
                <a:gs pos="0">
                  <a:schemeClr val="accent6">
                    <a:lumMod val="50000"/>
                  </a:schemeClr>
                </a:gs>
                <a:gs pos="74000">
                  <a:schemeClr val="accent6">
                    <a:lumMod val="50000"/>
                  </a:schemeClr>
                </a:gs>
                <a:gs pos="83000">
                  <a:schemeClr val="accent6">
                    <a:lumMod val="50000"/>
                  </a:schemeClr>
                </a:gs>
                <a:gs pos="100000">
                  <a:schemeClr val="accent6">
                    <a:lumMod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6"/>
          <p:cNvSpPr txBox="1">
            <a:spLocks/>
          </p:cNvSpPr>
          <p:nvPr/>
        </p:nvSpPr>
        <p:spPr>
          <a:xfrm>
            <a:off x="2241535" y="0"/>
            <a:ext cx="7708930" cy="80266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 baseline="0">
                <a:solidFill>
                  <a:schemeClr val="tx1"/>
                </a:solidFill>
                <a:latin typeface="NikoshBAN" panose="02000000000000000000" pitchFamily="2" charset="0"/>
                <a:ea typeface="+mj-ea"/>
                <a:cs typeface="NikoshBAN" panose="02000000000000000000" pitchFamily="2" charset="0"/>
              </a:defRPr>
            </a:lvl1pPr>
          </a:lstStyle>
          <a:p>
            <a:pPr algn="ctr"/>
            <a:r>
              <a:rPr lang="en-US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এই</a:t>
            </a:r>
            <a:r>
              <a:rPr lang="en-US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পাঠ</a:t>
            </a:r>
            <a:r>
              <a:rPr lang="en-US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শেষে</a:t>
            </a:r>
            <a:r>
              <a:rPr lang="en-US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শিক্ষার্থীরা</a:t>
            </a:r>
            <a:r>
              <a:rPr lang="en-US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………</a:t>
            </a:r>
            <a:endParaRPr lang="en-US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6237851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53509" y="2305616"/>
            <a:ext cx="1068498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রাষ্ট্রীয়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উদ্যোগে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প্রতিষ্ঠিত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অথবা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ব্যক্তিমালিকানায়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প্রতিষ্ঠিত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কোনো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ব্যবসায়ের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মালিকানা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,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পরিচালনা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ও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নিয়ন্ত্রণ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রাষ্ট্রের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অধীনে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থাকলে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তাকে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রাষ্ট্রীয়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ব্যবসায়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বলে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।</a:t>
            </a:r>
          </a:p>
          <a:p>
            <a:pPr algn="just"/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অন্যভাবে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আমরা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বলতে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পারি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,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রাষ্ট্রীয়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ব্যবসায়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হলো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সরকারি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উদ্যোগে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গঠিত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এবং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সরকারি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নিয়ন্ত্রণে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পরিচালিত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ব্যবসায়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প্রতিষ্ঠান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যা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মূল্যের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বিনিময়ে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জনগণকে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পণ্যদ্রব্য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ও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সেবা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সরবরাহ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করে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থাকে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।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তবে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মুনাফা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অর্জন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নয়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,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জনকল্যাণই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রাষ্ট্রীয়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ব্যবসায়ের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মূল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উদ্দেশ্য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।</a:t>
            </a:r>
            <a:endParaRPr lang="en-US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 flipV="1">
            <a:off x="0" y="0"/>
            <a:ext cx="12192000" cy="731520"/>
            <a:chOff x="1003679" y="3038047"/>
            <a:chExt cx="9528183" cy="731520"/>
          </a:xfrm>
        </p:grpSpPr>
        <p:sp>
          <p:nvSpPr>
            <p:cNvPr id="5" name="Freeform 4"/>
            <p:cNvSpPr/>
            <p:nvPr/>
          </p:nvSpPr>
          <p:spPr>
            <a:xfrm>
              <a:off x="1109693" y="3038047"/>
              <a:ext cx="817597" cy="731520"/>
            </a:xfrm>
            <a:custGeom>
              <a:avLst/>
              <a:gdLst>
                <a:gd name="connsiteX0" fmla="*/ 0 w 817597"/>
                <a:gd name="connsiteY0" fmla="*/ 0 h 731520"/>
                <a:gd name="connsiteX1" fmla="*/ 86077 w 817597"/>
                <a:gd name="connsiteY1" fmla="*/ 0 h 731520"/>
                <a:gd name="connsiteX2" fmla="*/ 817597 w 817597"/>
                <a:gd name="connsiteY2" fmla="*/ 731520 h 731520"/>
                <a:gd name="connsiteX3" fmla="*/ 11357 w 817597"/>
                <a:gd name="connsiteY3" fmla="*/ 74415 h 731520"/>
                <a:gd name="connsiteX4" fmla="*/ 0 w 817597"/>
                <a:gd name="connsiteY4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597" h="731520">
                  <a:moveTo>
                    <a:pt x="0" y="0"/>
                  </a:moveTo>
                  <a:lnTo>
                    <a:pt x="86077" y="0"/>
                  </a:lnTo>
                  <a:cubicBezTo>
                    <a:pt x="86077" y="404007"/>
                    <a:pt x="413590" y="731520"/>
                    <a:pt x="817597" y="731520"/>
                  </a:cubicBezTo>
                  <a:cubicBezTo>
                    <a:pt x="419903" y="731520"/>
                    <a:pt x="88095" y="449424"/>
                    <a:pt x="11357" y="74415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A42700"/>
                </a:gs>
                <a:gs pos="74000">
                  <a:srgbClr val="A42700"/>
                </a:gs>
                <a:gs pos="83000">
                  <a:srgbClr val="A42700"/>
                </a:gs>
                <a:gs pos="100000">
                  <a:srgbClr val="A4270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Freeform 5"/>
            <p:cNvSpPr/>
            <p:nvPr/>
          </p:nvSpPr>
          <p:spPr>
            <a:xfrm>
              <a:off x="1287210" y="3038047"/>
              <a:ext cx="529509" cy="720374"/>
            </a:xfrm>
            <a:custGeom>
              <a:avLst/>
              <a:gdLst>
                <a:gd name="connsiteX0" fmla="*/ 9218 w 529509"/>
                <a:gd name="connsiteY0" fmla="*/ 0 h 720374"/>
                <a:gd name="connsiteX1" fmla="*/ 125033 w 529509"/>
                <a:gd name="connsiteY1" fmla="*/ 0 h 720374"/>
                <a:gd name="connsiteX2" fmla="*/ 102586 w 529509"/>
                <a:gd name="connsiteY2" fmla="*/ 72310 h 720374"/>
                <a:gd name="connsiteX3" fmla="*/ 91440 w 529509"/>
                <a:gd name="connsiteY3" fmla="*/ 182880 h 720374"/>
                <a:gd name="connsiteX4" fmla="*/ 426524 w 529509"/>
                <a:gd name="connsiteY4" fmla="*/ 688405 h 720374"/>
                <a:gd name="connsiteX5" fmla="*/ 529509 w 529509"/>
                <a:gd name="connsiteY5" fmla="*/ 720374 h 720374"/>
                <a:gd name="connsiteX6" fmla="*/ 511082 w 529509"/>
                <a:gd name="connsiteY6" fmla="*/ 718516 h 720374"/>
                <a:gd name="connsiteX7" fmla="*/ 0 w 529509"/>
                <a:gd name="connsiteY7" fmla="*/ 91440 h 720374"/>
                <a:gd name="connsiteX8" fmla="*/ 9218 w 529509"/>
                <a:gd name="connsiteY8" fmla="*/ 0 h 720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9509" h="720374">
                  <a:moveTo>
                    <a:pt x="9218" y="0"/>
                  </a:moveTo>
                  <a:lnTo>
                    <a:pt x="125033" y="0"/>
                  </a:lnTo>
                  <a:lnTo>
                    <a:pt x="102586" y="72310"/>
                  </a:lnTo>
                  <a:cubicBezTo>
                    <a:pt x="95278" y="108025"/>
                    <a:pt x="91440" y="145004"/>
                    <a:pt x="91440" y="182880"/>
                  </a:cubicBezTo>
                  <a:cubicBezTo>
                    <a:pt x="91440" y="410135"/>
                    <a:pt x="229609" y="605117"/>
                    <a:pt x="426524" y="688405"/>
                  </a:cubicBezTo>
                  <a:lnTo>
                    <a:pt x="529509" y="720374"/>
                  </a:lnTo>
                  <a:lnTo>
                    <a:pt x="511082" y="718516"/>
                  </a:lnTo>
                  <a:cubicBezTo>
                    <a:pt x="219408" y="658831"/>
                    <a:pt x="0" y="400758"/>
                    <a:pt x="0" y="91440"/>
                  </a:cubicBezTo>
                  <a:lnTo>
                    <a:pt x="9218" y="0"/>
                  </a:lnTo>
                  <a:close/>
                </a:path>
              </a:pathLst>
            </a:custGeom>
            <a:ln>
              <a:noFill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Freeform 6"/>
            <p:cNvSpPr/>
            <p:nvPr/>
          </p:nvSpPr>
          <p:spPr>
            <a:xfrm>
              <a:off x="9718822" y="3038047"/>
              <a:ext cx="529508" cy="720374"/>
            </a:xfrm>
            <a:custGeom>
              <a:avLst/>
              <a:gdLst>
                <a:gd name="connsiteX0" fmla="*/ 404475 w 529508"/>
                <a:gd name="connsiteY0" fmla="*/ 0 h 720374"/>
                <a:gd name="connsiteX1" fmla="*/ 520290 w 529508"/>
                <a:gd name="connsiteY1" fmla="*/ 0 h 720374"/>
                <a:gd name="connsiteX2" fmla="*/ 529508 w 529508"/>
                <a:gd name="connsiteY2" fmla="*/ 91440 h 720374"/>
                <a:gd name="connsiteX3" fmla="*/ 18426 w 529508"/>
                <a:gd name="connsiteY3" fmla="*/ 718516 h 720374"/>
                <a:gd name="connsiteX4" fmla="*/ 0 w 529508"/>
                <a:gd name="connsiteY4" fmla="*/ 720374 h 720374"/>
                <a:gd name="connsiteX5" fmla="*/ 102984 w 529508"/>
                <a:gd name="connsiteY5" fmla="*/ 688405 h 720374"/>
                <a:gd name="connsiteX6" fmla="*/ 438068 w 529508"/>
                <a:gd name="connsiteY6" fmla="*/ 182880 h 720374"/>
                <a:gd name="connsiteX7" fmla="*/ 426922 w 529508"/>
                <a:gd name="connsiteY7" fmla="*/ 72310 h 720374"/>
                <a:gd name="connsiteX8" fmla="*/ 404475 w 529508"/>
                <a:gd name="connsiteY8" fmla="*/ 0 h 720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9508" h="720374">
                  <a:moveTo>
                    <a:pt x="404475" y="0"/>
                  </a:moveTo>
                  <a:lnTo>
                    <a:pt x="520290" y="0"/>
                  </a:lnTo>
                  <a:lnTo>
                    <a:pt x="529508" y="91440"/>
                  </a:lnTo>
                  <a:cubicBezTo>
                    <a:pt x="529508" y="400758"/>
                    <a:pt x="310100" y="658831"/>
                    <a:pt x="18426" y="718516"/>
                  </a:cubicBezTo>
                  <a:lnTo>
                    <a:pt x="0" y="720374"/>
                  </a:lnTo>
                  <a:lnTo>
                    <a:pt x="102984" y="688405"/>
                  </a:lnTo>
                  <a:cubicBezTo>
                    <a:pt x="299899" y="605117"/>
                    <a:pt x="438068" y="410135"/>
                    <a:pt x="438068" y="182880"/>
                  </a:cubicBezTo>
                  <a:cubicBezTo>
                    <a:pt x="438068" y="145004"/>
                    <a:pt x="434230" y="108025"/>
                    <a:pt x="426922" y="72310"/>
                  </a:cubicBezTo>
                  <a:lnTo>
                    <a:pt x="404475" y="0"/>
                  </a:lnTo>
                  <a:close/>
                </a:path>
              </a:pathLst>
            </a:custGeom>
            <a:ln>
              <a:noFill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Freeform 7"/>
            <p:cNvSpPr/>
            <p:nvPr/>
          </p:nvSpPr>
          <p:spPr>
            <a:xfrm>
              <a:off x="9608250" y="3038047"/>
              <a:ext cx="817597" cy="731520"/>
            </a:xfrm>
            <a:custGeom>
              <a:avLst/>
              <a:gdLst>
                <a:gd name="connsiteX0" fmla="*/ 731520 w 817597"/>
                <a:gd name="connsiteY0" fmla="*/ 0 h 731520"/>
                <a:gd name="connsiteX1" fmla="*/ 817597 w 817597"/>
                <a:gd name="connsiteY1" fmla="*/ 0 h 731520"/>
                <a:gd name="connsiteX2" fmla="*/ 806240 w 817597"/>
                <a:gd name="connsiteY2" fmla="*/ 74415 h 731520"/>
                <a:gd name="connsiteX3" fmla="*/ 0 w 817597"/>
                <a:gd name="connsiteY3" fmla="*/ 731520 h 731520"/>
                <a:gd name="connsiteX4" fmla="*/ 731520 w 817597"/>
                <a:gd name="connsiteY4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597" h="731520">
                  <a:moveTo>
                    <a:pt x="731520" y="0"/>
                  </a:moveTo>
                  <a:lnTo>
                    <a:pt x="817597" y="0"/>
                  </a:lnTo>
                  <a:lnTo>
                    <a:pt x="806240" y="74415"/>
                  </a:lnTo>
                  <a:cubicBezTo>
                    <a:pt x="729502" y="449424"/>
                    <a:pt x="397694" y="731520"/>
                    <a:pt x="0" y="731520"/>
                  </a:cubicBezTo>
                  <a:cubicBezTo>
                    <a:pt x="404007" y="731520"/>
                    <a:pt x="731520" y="404007"/>
                    <a:pt x="731520" y="0"/>
                  </a:cubicBezTo>
                  <a:close/>
                </a:path>
              </a:pathLst>
            </a:custGeom>
            <a:gradFill>
              <a:gsLst>
                <a:gs pos="0">
                  <a:srgbClr val="A42700"/>
                </a:gs>
                <a:gs pos="74000">
                  <a:srgbClr val="A42700"/>
                </a:gs>
                <a:gs pos="83000">
                  <a:srgbClr val="A42700"/>
                </a:gs>
                <a:gs pos="100000">
                  <a:srgbClr val="A4270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Freeform 8"/>
            <p:cNvSpPr/>
            <p:nvPr/>
          </p:nvSpPr>
          <p:spPr>
            <a:xfrm>
              <a:off x="1816719" y="3758421"/>
              <a:ext cx="110571" cy="11146"/>
            </a:xfrm>
            <a:custGeom>
              <a:avLst/>
              <a:gdLst>
                <a:gd name="connsiteX0" fmla="*/ 0 w 110571"/>
                <a:gd name="connsiteY0" fmla="*/ 0 h 11146"/>
                <a:gd name="connsiteX1" fmla="*/ 110571 w 110571"/>
                <a:gd name="connsiteY1" fmla="*/ 11146 h 11146"/>
                <a:gd name="connsiteX2" fmla="*/ 1 w 110571"/>
                <a:gd name="connsiteY2" fmla="*/ 0 h 11146"/>
                <a:gd name="connsiteX3" fmla="*/ 0 w 110571"/>
                <a:gd name="connsiteY3" fmla="*/ 0 h 1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571" h="11146">
                  <a:moveTo>
                    <a:pt x="0" y="0"/>
                  </a:moveTo>
                  <a:lnTo>
                    <a:pt x="110571" y="11146"/>
                  </a:lnTo>
                  <a:cubicBezTo>
                    <a:pt x="72695" y="11146"/>
                    <a:pt x="35716" y="7308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Freeform 9"/>
            <p:cNvSpPr/>
            <p:nvPr/>
          </p:nvSpPr>
          <p:spPr>
            <a:xfrm>
              <a:off x="9608250" y="3758421"/>
              <a:ext cx="110572" cy="11146"/>
            </a:xfrm>
            <a:custGeom>
              <a:avLst/>
              <a:gdLst>
                <a:gd name="connsiteX0" fmla="*/ 110572 w 110572"/>
                <a:gd name="connsiteY0" fmla="*/ 0 h 11146"/>
                <a:gd name="connsiteX1" fmla="*/ 110570 w 110572"/>
                <a:gd name="connsiteY1" fmla="*/ 0 h 11146"/>
                <a:gd name="connsiteX2" fmla="*/ 0 w 110572"/>
                <a:gd name="connsiteY2" fmla="*/ 11146 h 11146"/>
                <a:gd name="connsiteX3" fmla="*/ 110572 w 110572"/>
                <a:gd name="connsiteY3" fmla="*/ 0 h 1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572" h="11146">
                  <a:moveTo>
                    <a:pt x="110572" y="0"/>
                  </a:moveTo>
                  <a:lnTo>
                    <a:pt x="110570" y="0"/>
                  </a:lnTo>
                  <a:cubicBezTo>
                    <a:pt x="74855" y="7308"/>
                    <a:pt x="37876" y="11146"/>
                    <a:pt x="0" y="11146"/>
                  </a:cubicBezTo>
                  <a:lnTo>
                    <a:pt x="110572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Freeform 10"/>
            <p:cNvSpPr/>
            <p:nvPr/>
          </p:nvSpPr>
          <p:spPr>
            <a:xfrm>
              <a:off x="1003679" y="3038047"/>
              <a:ext cx="923611" cy="731520"/>
            </a:xfrm>
            <a:custGeom>
              <a:avLst/>
              <a:gdLst>
                <a:gd name="connsiteX0" fmla="*/ 0 w 923611"/>
                <a:gd name="connsiteY0" fmla="*/ 0 h 731520"/>
                <a:gd name="connsiteX1" fmla="*/ 106014 w 923611"/>
                <a:gd name="connsiteY1" fmla="*/ 0 h 731520"/>
                <a:gd name="connsiteX2" fmla="*/ 117371 w 923611"/>
                <a:gd name="connsiteY2" fmla="*/ 74415 h 731520"/>
                <a:gd name="connsiteX3" fmla="*/ 923611 w 923611"/>
                <a:gd name="connsiteY3" fmla="*/ 731520 h 731520"/>
                <a:gd name="connsiteX4" fmla="*/ 856017 w 923611"/>
                <a:gd name="connsiteY4" fmla="*/ 731520 h 731520"/>
                <a:gd name="connsiteX5" fmla="*/ 5900 w 923611"/>
                <a:gd name="connsiteY5" fmla="*/ 38654 h 731520"/>
                <a:gd name="connsiteX6" fmla="*/ 0 w 923611"/>
                <a:gd name="connsiteY6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3611" h="731520">
                  <a:moveTo>
                    <a:pt x="0" y="0"/>
                  </a:moveTo>
                  <a:lnTo>
                    <a:pt x="106014" y="0"/>
                  </a:lnTo>
                  <a:lnTo>
                    <a:pt x="117371" y="74415"/>
                  </a:lnTo>
                  <a:cubicBezTo>
                    <a:pt x="194109" y="449424"/>
                    <a:pt x="525917" y="731520"/>
                    <a:pt x="923611" y="731520"/>
                  </a:cubicBezTo>
                  <a:lnTo>
                    <a:pt x="856017" y="731520"/>
                  </a:lnTo>
                  <a:cubicBezTo>
                    <a:pt x="436679" y="731520"/>
                    <a:pt x="86814" y="434072"/>
                    <a:pt x="5900" y="38654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chemeClr val="accent6">
                    <a:lumMod val="50000"/>
                  </a:schemeClr>
                </a:gs>
                <a:gs pos="74000">
                  <a:schemeClr val="accent6">
                    <a:lumMod val="50000"/>
                  </a:schemeClr>
                </a:gs>
                <a:gs pos="83000">
                  <a:schemeClr val="accent6">
                    <a:lumMod val="50000"/>
                  </a:schemeClr>
                </a:gs>
                <a:gs pos="100000">
                  <a:schemeClr val="accent6">
                    <a:lumMod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Freeform 11"/>
            <p:cNvSpPr/>
            <p:nvPr/>
          </p:nvSpPr>
          <p:spPr>
            <a:xfrm>
              <a:off x="1195770" y="3038047"/>
              <a:ext cx="731520" cy="731520"/>
            </a:xfrm>
            <a:custGeom>
              <a:avLst/>
              <a:gdLst>
                <a:gd name="connsiteX0" fmla="*/ 0 w 731520"/>
                <a:gd name="connsiteY0" fmla="*/ 0 h 731520"/>
                <a:gd name="connsiteX1" fmla="*/ 100658 w 731520"/>
                <a:gd name="connsiteY1" fmla="*/ 0 h 731520"/>
                <a:gd name="connsiteX2" fmla="*/ 91440 w 731520"/>
                <a:gd name="connsiteY2" fmla="*/ 91440 h 731520"/>
                <a:gd name="connsiteX3" fmla="*/ 602522 w 731520"/>
                <a:gd name="connsiteY3" fmla="*/ 718516 h 731520"/>
                <a:gd name="connsiteX4" fmla="*/ 620949 w 731520"/>
                <a:gd name="connsiteY4" fmla="*/ 720374 h 731520"/>
                <a:gd name="connsiteX5" fmla="*/ 620950 w 731520"/>
                <a:gd name="connsiteY5" fmla="*/ 720374 h 731520"/>
                <a:gd name="connsiteX6" fmla="*/ 731520 w 731520"/>
                <a:gd name="connsiteY6" fmla="*/ 731520 h 731520"/>
                <a:gd name="connsiteX7" fmla="*/ 0 w 731520"/>
                <a:gd name="connsiteY7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0" h="731520">
                  <a:moveTo>
                    <a:pt x="0" y="0"/>
                  </a:moveTo>
                  <a:lnTo>
                    <a:pt x="100658" y="0"/>
                  </a:lnTo>
                  <a:lnTo>
                    <a:pt x="91440" y="91440"/>
                  </a:lnTo>
                  <a:cubicBezTo>
                    <a:pt x="91440" y="400758"/>
                    <a:pt x="310848" y="658831"/>
                    <a:pt x="602522" y="718516"/>
                  </a:cubicBezTo>
                  <a:lnTo>
                    <a:pt x="620949" y="720374"/>
                  </a:lnTo>
                  <a:lnTo>
                    <a:pt x="620950" y="720374"/>
                  </a:lnTo>
                  <a:cubicBezTo>
                    <a:pt x="656665" y="727682"/>
                    <a:pt x="693644" y="731520"/>
                    <a:pt x="731520" y="731520"/>
                  </a:cubicBezTo>
                  <a:cubicBezTo>
                    <a:pt x="327513" y="731520"/>
                    <a:pt x="0" y="404007"/>
                    <a:pt x="0" y="0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Freeform 12"/>
            <p:cNvSpPr/>
            <p:nvPr/>
          </p:nvSpPr>
          <p:spPr>
            <a:xfrm>
              <a:off x="1378650" y="3038047"/>
              <a:ext cx="8778240" cy="731520"/>
            </a:xfrm>
            <a:custGeom>
              <a:avLst/>
              <a:gdLst>
                <a:gd name="connsiteX0" fmla="*/ 33593 w 8778240"/>
                <a:gd name="connsiteY0" fmla="*/ 0 h 731520"/>
                <a:gd name="connsiteX1" fmla="*/ 8744647 w 8778240"/>
                <a:gd name="connsiteY1" fmla="*/ 0 h 731520"/>
                <a:gd name="connsiteX2" fmla="*/ 8767094 w 8778240"/>
                <a:gd name="connsiteY2" fmla="*/ 72310 h 731520"/>
                <a:gd name="connsiteX3" fmla="*/ 8778240 w 8778240"/>
                <a:gd name="connsiteY3" fmla="*/ 182880 h 731520"/>
                <a:gd name="connsiteX4" fmla="*/ 8443156 w 8778240"/>
                <a:gd name="connsiteY4" fmla="*/ 688405 h 731520"/>
                <a:gd name="connsiteX5" fmla="*/ 8340172 w 8778240"/>
                <a:gd name="connsiteY5" fmla="*/ 720374 h 731520"/>
                <a:gd name="connsiteX6" fmla="*/ 8229600 w 8778240"/>
                <a:gd name="connsiteY6" fmla="*/ 731520 h 731520"/>
                <a:gd name="connsiteX7" fmla="*/ 548640 w 8778240"/>
                <a:gd name="connsiteY7" fmla="*/ 731520 h 731520"/>
                <a:gd name="connsiteX8" fmla="*/ 438069 w 8778240"/>
                <a:gd name="connsiteY8" fmla="*/ 720374 h 731520"/>
                <a:gd name="connsiteX9" fmla="*/ 335084 w 8778240"/>
                <a:gd name="connsiteY9" fmla="*/ 688405 h 731520"/>
                <a:gd name="connsiteX10" fmla="*/ 0 w 8778240"/>
                <a:gd name="connsiteY10" fmla="*/ 182880 h 731520"/>
                <a:gd name="connsiteX11" fmla="*/ 11146 w 8778240"/>
                <a:gd name="connsiteY11" fmla="*/ 72310 h 731520"/>
                <a:gd name="connsiteX12" fmla="*/ 33593 w 8778240"/>
                <a:gd name="connsiteY12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78240" h="731520">
                  <a:moveTo>
                    <a:pt x="33593" y="0"/>
                  </a:moveTo>
                  <a:lnTo>
                    <a:pt x="8744647" y="0"/>
                  </a:lnTo>
                  <a:lnTo>
                    <a:pt x="8767094" y="72310"/>
                  </a:lnTo>
                  <a:cubicBezTo>
                    <a:pt x="8774402" y="108025"/>
                    <a:pt x="8778240" y="145004"/>
                    <a:pt x="8778240" y="182880"/>
                  </a:cubicBezTo>
                  <a:cubicBezTo>
                    <a:pt x="8778240" y="410135"/>
                    <a:pt x="8640071" y="605117"/>
                    <a:pt x="8443156" y="688405"/>
                  </a:cubicBezTo>
                  <a:lnTo>
                    <a:pt x="8340172" y="720374"/>
                  </a:lnTo>
                  <a:lnTo>
                    <a:pt x="8229600" y="731520"/>
                  </a:lnTo>
                  <a:lnTo>
                    <a:pt x="548640" y="731520"/>
                  </a:lnTo>
                  <a:lnTo>
                    <a:pt x="438069" y="720374"/>
                  </a:lnTo>
                  <a:lnTo>
                    <a:pt x="335084" y="688405"/>
                  </a:lnTo>
                  <a:cubicBezTo>
                    <a:pt x="138169" y="605117"/>
                    <a:pt x="0" y="410135"/>
                    <a:pt x="0" y="182880"/>
                  </a:cubicBezTo>
                  <a:cubicBezTo>
                    <a:pt x="0" y="145004"/>
                    <a:pt x="3838" y="108025"/>
                    <a:pt x="11146" y="72310"/>
                  </a:cubicBezTo>
                  <a:lnTo>
                    <a:pt x="33593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Freeform 13"/>
            <p:cNvSpPr/>
            <p:nvPr/>
          </p:nvSpPr>
          <p:spPr>
            <a:xfrm>
              <a:off x="9608250" y="3038047"/>
              <a:ext cx="731520" cy="731520"/>
            </a:xfrm>
            <a:custGeom>
              <a:avLst/>
              <a:gdLst>
                <a:gd name="connsiteX0" fmla="*/ 630862 w 731520"/>
                <a:gd name="connsiteY0" fmla="*/ 0 h 731520"/>
                <a:gd name="connsiteX1" fmla="*/ 731520 w 731520"/>
                <a:gd name="connsiteY1" fmla="*/ 0 h 731520"/>
                <a:gd name="connsiteX2" fmla="*/ 0 w 731520"/>
                <a:gd name="connsiteY2" fmla="*/ 731520 h 731520"/>
                <a:gd name="connsiteX3" fmla="*/ 110570 w 731520"/>
                <a:gd name="connsiteY3" fmla="*/ 720374 h 731520"/>
                <a:gd name="connsiteX4" fmla="*/ 110572 w 731520"/>
                <a:gd name="connsiteY4" fmla="*/ 720374 h 731520"/>
                <a:gd name="connsiteX5" fmla="*/ 128998 w 731520"/>
                <a:gd name="connsiteY5" fmla="*/ 718516 h 731520"/>
                <a:gd name="connsiteX6" fmla="*/ 640080 w 731520"/>
                <a:gd name="connsiteY6" fmla="*/ 91440 h 731520"/>
                <a:gd name="connsiteX7" fmla="*/ 630862 w 731520"/>
                <a:gd name="connsiteY7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0" h="731520">
                  <a:moveTo>
                    <a:pt x="630862" y="0"/>
                  </a:moveTo>
                  <a:lnTo>
                    <a:pt x="731520" y="0"/>
                  </a:lnTo>
                  <a:cubicBezTo>
                    <a:pt x="731520" y="404007"/>
                    <a:pt x="404007" y="731520"/>
                    <a:pt x="0" y="731520"/>
                  </a:cubicBezTo>
                  <a:cubicBezTo>
                    <a:pt x="37876" y="731520"/>
                    <a:pt x="74855" y="727682"/>
                    <a:pt x="110570" y="720374"/>
                  </a:cubicBezTo>
                  <a:lnTo>
                    <a:pt x="110572" y="720374"/>
                  </a:lnTo>
                  <a:lnTo>
                    <a:pt x="128998" y="718516"/>
                  </a:lnTo>
                  <a:cubicBezTo>
                    <a:pt x="420672" y="658831"/>
                    <a:pt x="640080" y="400758"/>
                    <a:pt x="640080" y="91440"/>
                  </a:cubicBezTo>
                  <a:lnTo>
                    <a:pt x="630862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Freeform 14"/>
            <p:cNvSpPr/>
            <p:nvPr/>
          </p:nvSpPr>
          <p:spPr>
            <a:xfrm>
              <a:off x="9608250" y="3038047"/>
              <a:ext cx="923612" cy="731520"/>
            </a:xfrm>
            <a:custGeom>
              <a:avLst/>
              <a:gdLst>
                <a:gd name="connsiteX0" fmla="*/ 817597 w 923612"/>
                <a:gd name="connsiteY0" fmla="*/ 0 h 731520"/>
                <a:gd name="connsiteX1" fmla="*/ 923612 w 923612"/>
                <a:gd name="connsiteY1" fmla="*/ 0 h 731520"/>
                <a:gd name="connsiteX2" fmla="*/ 917712 w 923612"/>
                <a:gd name="connsiteY2" fmla="*/ 38654 h 731520"/>
                <a:gd name="connsiteX3" fmla="*/ 67595 w 923612"/>
                <a:gd name="connsiteY3" fmla="*/ 731520 h 731520"/>
                <a:gd name="connsiteX4" fmla="*/ 0 w 923612"/>
                <a:gd name="connsiteY4" fmla="*/ 731520 h 731520"/>
                <a:gd name="connsiteX5" fmla="*/ 806240 w 923612"/>
                <a:gd name="connsiteY5" fmla="*/ 74415 h 731520"/>
                <a:gd name="connsiteX6" fmla="*/ 817597 w 923612"/>
                <a:gd name="connsiteY6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3612" h="731520">
                  <a:moveTo>
                    <a:pt x="817597" y="0"/>
                  </a:moveTo>
                  <a:lnTo>
                    <a:pt x="923612" y="0"/>
                  </a:lnTo>
                  <a:lnTo>
                    <a:pt x="917712" y="38654"/>
                  </a:lnTo>
                  <a:cubicBezTo>
                    <a:pt x="836798" y="434072"/>
                    <a:pt x="486933" y="731520"/>
                    <a:pt x="67595" y="731520"/>
                  </a:cubicBezTo>
                  <a:lnTo>
                    <a:pt x="0" y="731520"/>
                  </a:lnTo>
                  <a:cubicBezTo>
                    <a:pt x="397694" y="731520"/>
                    <a:pt x="729502" y="449424"/>
                    <a:pt x="806240" y="74415"/>
                  </a:cubicBezTo>
                  <a:lnTo>
                    <a:pt x="817597" y="0"/>
                  </a:lnTo>
                  <a:close/>
                </a:path>
              </a:pathLst>
            </a:custGeom>
            <a:gradFill>
              <a:gsLst>
                <a:gs pos="0">
                  <a:schemeClr val="accent6">
                    <a:lumMod val="50000"/>
                  </a:schemeClr>
                </a:gs>
                <a:gs pos="74000">
                  <a:schemeClr val="accent6">
                    <a:lumMod val="50000"/>
                  </a:schemeClr>
                </a:gs>
                <a:gs pos="83000">
                  <a:schemeClr val="accent6">
                    <a:lumMod val="50000"/>
                  </a:schemeClr>
                </a:gs>
                <a:gs pos="100000">
                  <a:schemeClr val="accent6">
                    <a:lumMod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0" y="6126480"/>
            <a:ext cx="12192000" cy="731520"/>
            <a:chOff x="1003679" y="3038047"/>
            <a:chExt cx="9528183" cy="731520"/>
          </a:xfrm>
        </p:grpSpPr>
        <p:sp>
          <p:nvSpPr>
            <p:cNvPr id="17" name="Freeform 16"/>
            <p:cNvSpPr/>
            <p:nvPr/>
          </p:nvSpPr>
          <p:spPr>
            <a:xfrm>
              <a:off x="1109693" y="3038047"/>
              <a:ext cx="817597" cy="731520"/>
            </a:xfrm>
            <a:custGeom>
              <a:avLst/>
              <a:gdLst>
                <a:gd name="connsiteX0" fmla="*/ 0 w 817597"/>
                <a:gd name="connsiteY0" fmla="*/ 0 h 731520"/>
                <a:gd name="connsiteX1" fmla="*/ 86077 w 817597"/>
                <a:gd name="connsiteY1" fmla="*/ 0 h 731520"/>
                <a:gd name="connsiteX2" fmla="*/ 817597 w 817597"/>
                <a:gd name="connsiteY2" fmla="*/ 731520 h 731520"/>
                <a:gd name="connsiteX3" fmla="*/ 11357 w 817597"/>
                <a:gd name="connsiteY3" fmla="*/ 74415 h 731520"/>
                <a:gd name="connsiteX4" fmla="*/ 0 w 817597"/>
                <a:gd name="connsiteY4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597" h="731520">
                  <a:moveTo>
                    <a:pt x="0" y="0"/>
                  </a:moveTo>
                  <a:lnTo>
                    <a:pt x="86077" y="0"/>
                  </a:lnTo>
                  <a:cubicBezTo>
                    <a:pt x="86077" y="404007"/>
                    <a:pt x="413590" y="731520"/>
                    <a:pt x="817597" y="731520"/>
                  </a:cubicBezTo>
                  <a:cubicBezTo>
                    <a:pt x="419903" y="731520"/>
                    <a:pt x="88095" y="449424"/>
                    <a:pt x="11357" y="74415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rgbClr val="A42700"/>
                </a:gs>
                <a:gs pos="74000">
                  <a:srgbClr val="A42700"/>
                </a:gs>
                <a:gs pos="83000">
                  <a:srgbClr val="A42700"/>
                </a:gs>
                <a:gs pos="100000">
                  <a:srgbClr val="A4270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Freeform 17"/>
            <p:cNvSpPr/>
            <p:nvPr/>
          </p:nvSpPr>
          <p:spPr>
            <a:xfrm>
              <a:off x="1287210" y="3038047"/>
              <a:ext cx="529509" cy="720374"/>
            </a:xfrm>
            <a:custGeom>
              <a:avLst/>
              <a:gdLst>
                <a:gd name="connsiteX0" fmla="*/ 9218 w 529509"/>
                <a:gd name="connsiteY0" fmla="*/ 0 h 720374"/>
                <a:gd name="connsiteX1" fmla="*/ 125033 w 529509"/>
                <a:gd name="connsiteY1" fmla="*/ 0 h 720374"/>
                <a:gd name="connsiteX2" fmla="*/ 102586 w 529509"/>
                <a:gd name="connsiteY2" fmla="*/ 72310 h 720374"/>
                <a:gd name="connsiteX3" fmla="*/ 91440 w 529509"/>
                <a:gd name="connsiteY3" fmla="*/ 182880 h 720374"/>
                <a:gd name="connsiteX4" fmla="*/ 426524 w 529509"/>
                <a:gd name="connsiteY4" fmla="*/ 688405 h 720374"/>
                <a:gd name="connsiteX5" fmla="*/ 529509 w 529509"/>
                <a:gd name="connsiteY5" fmla="*/ 720374 h 720374"/>
                <a:gd name="connsiteX6" fmla="*/ 511082 w 529509"/>
                <a:gd name="connsiteY6" fmla="*/ 718516 h 720374"/>
                <a:gd name="connsiteX7" fmla="*/ 0 w 529509"/>
                <a:gd name="connsiteY7" fmla="*/ 91440 h 720374"/>
                <a:gd name="connsiteX8" fmla="*/ 9218 w 529509"/>
                <a:gd name="connsiteY8" fmla="*/ 0 h 720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9509" h="720374">
                  <a:moveTo>
                    <a:pt x="9218" y="0"/>
                  </a:moveTo>
                  <a:lnTo>
                    <a:pt x="125033" y="0"/>
                  </a:lnTo>
                  <a:lnTo>
                    <a:pt x="102586" y="72310"/>
                  </a:lnTo>
                  <a:cubicBezTo>
                    <a:pt x="95278" y="108025"/>
                    <a:pt x="91440" y="145004"/>
                    <a:pt x="91440" y="182880"/>
                  </a:cubicBezTo>
                  <a:cubicBezTo>
                    <a:pt x="91440" y="410135"/>
                    <a:pt x="229609" y="605117"/>
                    <a:pt x="426524" y="688405"/>
                  </a:cubicBezTo>
                  <a:lnTo>
                    <a:pt x="529509" y="720374"/>
                  </a:lnTo>
                  <a:lnTo>
                    <a:pt x="511082" y="718516"/>
                  </a:lnTo>
                  <a:cubicBezTo>
                    <a:pt x="219408" y="658831"/>
                    <a:pt x="0" y="400758"/>
                    <a:pt x="0" y="91440"/>
                  </a:cubicBezTo>
                  <a:lnTo>
                    <a:pt x="9218" y="0"/>
                  </a:lnTo>
                  <a:close/>
                </a:path>
              </a:pathLst>
            </a:custGeom>
            <a:ln>
              <a:noFill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reeform 18"/>
            <p:cNvSpPr/>
            <p:nvPr/>
          </p:nvSpPr>
          <p:spPr>
            <a:xfrm>
              <a:off x="9718822" y="3038047"/>
              <a:ext cx="529508" cy="720374"/>
            </a:xfrm>
            <a:custGeom>
              <a:avLst/>
              <a:gdLst>
                <a:gd name="connsiteX0" fmla="*/ 404475 w 529508"/>
                <a:gd name="connsiteY0" fmla="*/ 0 h 720374"/>
                <a:gd name="connsiteX1" fmla="*/ 520290 w 529508"/>
                <a:gd name="connsiteY1" fmla="*/ 0 h 720374"/>
                <a:gd name="connsiteX2" fmla="*/ 529508 w 529508"/>
                <a:gd name="connsiteY2" fmla="*/ 91440 h 720374"/>
                <a:gd name="connsiteX3" fmla="*/ 18426 w 529508"/>
                <a:gd name="connsiteY3" fmla="*/ 718516 h 720374"/>
                <a:gd name="connsiteX4" fmla="*/ 0 w 529508"/>
                <a:gd name="connsiteY4" fmla="*/ 720374 h 720374"/>
                <a:gd name="connsiteX5" fmla="*/ 102984 w 529508"/>
                <a:gd name="connsiteY5" fmla="*/ 688405 h 720374"/>
                <a:gd name="connsiteX6" fmla="*/ 438068 w 529508"/>
                <a:gd name="connsiteY6" fmla="*/ 182880 h 720374"/>
                <a:gd name="connsiteX7" fmla="*/ 426922 w 529508"/>
                <a:gd name="connsiteY7" fmla="*/ 72310 h 720374"/>
                <a:gd name="connsiteX8" fmla="*/ 404475 w 529508"/>
                <a:gd name="connsiteY8" fmla="*/ 0 h 720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9508" h="720374">
                  <a:moveTo>
                    <a:pt x="404475" y="0"/>
                  </a:moveTo>
                  <a:lnTo>
                    <a:pt x="520290" y="0"/>
                  </a:lnTo>
                  <a:lnTo>
                    <a:pt x="529508" y="91440"/>
                  </a:lnTo>
                  <a:cubicBezTo>
                    <a:pt x="529508" y="400758"/>
                    <a:pt x="310100" y="658831"/>
                    <a:pt x="18426" y="718516"/>
                  </a:cubicBezTo>
                  <a:lnTo>
                    <a:pt x="0" y="720374"/>
                  </a:lnTo>
                  <a:lnTo>
                    <a:pt x="102984" y="688405"/>
                  </a:lnTo>
                  <a:cubicBezTo>
                    <a:pt x="299899" y="605117"/>
                    <a:pt x="438068" y="410135"/>
                    <a:pt x="438068" y="182880"/>
                  </a:cubicBezTo>
                  <a:cubicBezTo>
                    <a:pt x="438068" y="145004"/>
                    <a:pt x="434230" y="108025"/>
                    <a:pt x="426922" y="72310"/>
                  </a:cubicBezTo>
                  <a:lnTo>
                    <a:pt x="404475" y="0"/>
                  </a:lnTo>
                  <a:close/>
                </a:path>
              </a:pathLst>
            </a:custGeom>
            <a:ln>
              <a:noFill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reeform 19"/>
            <p:cNvSpPr/>
            <p:nvPr/>
          </p:nvSpPr>
          <p:spPr>
            <a:xfrm>
              <a:off x="9608250" y="3038047"/>
              <a:ext cx="817597" cy="731520"/>
            </a:xfrm>
            <a:custGeom>
              <a:avLst/>
              <a:gdLst>
                <a:gd name="connsiteX0" fmla="*/ 731520 w 817597"/>
                <a:gd name="connsiteY0" fmla="*/ 0 h 731520"/>
                <a:gd name="connsiteX1" fmla="*/ 817597 w 817597"/>
                <a:gd name="connsiteY1" fmla="*/ 0 h 731520"/>
                <a:gd name="connsiteX2" fmla="*/ 806240 w 817597"/>
                <a:gd name="connsiteY2" fmla="*/ 74415 h 731520"/>
                <a:gd name="connsiteX3" fmla="*/ 0 w 817597"/>
                <a:gd name="connsiteY3" fmla="*/ 731520 h 731520"/>
                <a:gd name="connsiteX4" fmla="*/ 731520 w 817597"/>
                <a:gd name="connsiteY4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7597" h="731520">
                  <a:moveTo>
                    <a:pt x="731520" y="0"/>
                  </a:moveTo>
                  <a:lnTo>
                    <a:pt x="817597" y="0"/>
                  </a:lnTo>
                  <a:lnTo>
                    <a:pt x="806240" y="74415"/>
                  </a:lnTo>
                  <a:cubicBezTo>
                    <a:pt x="729502" y="449424"/>
                    <a:pt x="397694" y="731520"/>
                    <a:pt x="0" y="731520"/>
                  </a:cubicBezTo>
                  <a:cubicBezTo>
                    <a:pt x="404007" y="731520"/>
                    <a:pt x="731520" y="404007"/>
                    <a:pt x="731520" y="0"/>
                  </a:cubicBezTo>
                  <a:close/>
                </a:path>
              </a:pathLst>
            </a:custGeom>
            <a:gradFill>
              <a:gsLst>
                <a:gs pos="0">
                  <a:srgbClr val="A42700"/>
                </a:gs>
                <a:gs pos="74000">
                  <a:srgbClr val="A42700"/>
                </a:gs>
                <a:gs pos="83000">
                  <a:srgbClr val="A42700"/>
                </a:gs>
                <a:gs pos="100000">
                  <a:srgbClr val="A4270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Freeform 20"/>
            <p:cNvSpPr/>
            <p:nvPr/>
          </p:nvSpPr>
          <p:spPr>
            <a:xfrm>
              <a:off x="1816719" y="3758421"/>
              <a:ext cx="110571" cy="11146"/>
            </a:xfrm>
            <a:custGeom>
              <a:avLst/>
              <a:gdLst>
                <a:gd name="connsiteX0" fmla="*/ 0 w 110571"/>
                <a:gd name="connsiteY0" fmla="*/ 0 h 11146"/>
                <a:gd name="connsiteX1" fmla="*/ 110571 w 110571"/>
                <a:gd name="connsiteY1" fmla="*/ 11146 h 11146"/>
                <a:gd name="connsiteX2" fmla="*/ 1 w 110571"/>
                <a:gd name="connsiteY2" fmla="*/ 0 h 11146"/>
                <a:gd name="connsiteX3" fmla="*/ 0 w 110571"/>
                <a:gd name="connsiteY3" fmla="*/ 0 h 1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571" h="11146">
                  <a:moveTo>
                    <a:pt x="0" y="0"/>
                  </a:moveTo>
                  <a:lnTo>
                    <a:pt x="110571" y="11146"/>
                  </a:lnTo>
                  <a:cubicBezTo>
                    <a:pt x="72695" y="11146"/>
                    <a:pt x="35716" y="7308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Freeform 21"/>
            <p:cNvSpPr/>
            <p:nvPr/>
          </p:nvSpPr>
          <p:spPr>
            <a:xfrm>
              <a:off x="9608250" y="3758421"/>
              <a:ext cx="110572" cy="11146"/>
            </a:xfrm>
            <a:custGeom>
              <a:avLst/>
              <a:gdLst>
                <a:gd name="connsiteX0" fmla="*/ 110572 w 110572"/>
                <a:gd name="connsiteY0" fmla="*/ 0 h 11146"/>
                <a:gd name="connsiteX1" fmla="*/ 110570 w 110572"/>
                <a:gd name="connsiteY1" fmla="*/ 0 h 11146"/>
                <a:gd name="connsiteX2" fmla="*/ 0 w 110572"/>
                <a:gd name="connsiteY2" fmla="*/ 11146 h 11146"/>
                <a:gd name="connsiteX3" fmla="*/ 110572 w 110572"/>
                <a:gd name="connsiteY3" fmla="*/ 0 h 1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572" h="11146">
                  <a:moveTo>
                    <a:pt x="110572" y="0"/>
                  </a:moveTo>
                  <a:lnTo>
                    <a:pt x="110570" y="0"/>
                  </a:lnTo>
                  <a:cubicBezTo>
                    <a:pt x="74855" y="7308"/>
                    <a:pt x="37876" y="11146"/>
                    <a:pt x="0" y="11146"/>
                  </a:cubicBezTo>
                  <a:lnTo>
                    <a:pt x="110572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Freeform 22"/>
            <p:cNvSpPr/>
            <p:nvPr/>
          </p:nvSpPr>
          <p:spPr>
            <a:xfrm>
              <a:off x="1003679" y="3038047"/>
              <a:ext cx="923611" cy="731520"/>
            </a:xfrm>
            <a:custGeom>
              <a:avLst/>
              <a:gdLst>
                <a:gd name="connsiteX0" fmla="*/ 0 w 923611"/>
                <a:gd name="connsiteY0" fmla="*/ 0 h 731520"/>
                <a:gd name="connsiteX1" fmla="*/ 106014 w 923611"/>
                <a:gd name="connsiteY1" fmla="*/ 0 h 731520"/>
                <a:gd name="connsiteX2" fmla="*/ 117371 w 923611"/>
                <a:gd name="connsiteY2" fmla="*/ 74415 h 731520"/>
                <a:gd name="connsiteX3" fmla="*/ 923611 w 923611"/>
                <a:gd name="connsiteY3" fmla="*/ 731520 h 731520"/>
                <a:gd name="connsiteX4" fmla="*/ 856017 w 923611"/>
                <a:gd name="connsiteY4" fmla="*/ 731520 h 731520"/>
                <a:gd name="connsiteX5" fmla="*/ 5900 w 923611"/>
                <a:gd name="connsiteY5" fmla="*/ 38654 h 731520"/>
                <a:gd name="connsiteX6" fmla="*/ 0 w 923611"/>
                <a:gd name="connsiteY6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3611" h="731520">
                  <a:moveTo>
                    <a:pt x="0" y="0"/>
                  </a:moveTo>
                  <a:lnTo>
                    <a:pt x="106014" y="0"/>
                  </a:lnTo>
                  <a:lnTo>
                    <a:pt x="117371" y="74415"/>
                  </a:lnTo>
                  <a:cubicBezTo>
                    <a:pt x="194109" y="449424"/>
                    <a:pt x="525917" y="731520"/>
                    <a:pt x="923611" y="731520"/>
                  </a:cubicBezTo>
                  <a:lnTo>
                    <a:pt x="856017" y="731520"/>
                  </a:lnTo>
                  <a:cubicBezTo>
                    <a:pt x="436679" y="731520"/>
                    <a:pt x="86814" y="434072"/>
                    <a:pt x="5900" y="38654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0">
                  <a:schemeClr val="accent6">
                    <a:lumMod val="50000"/>
                  </a:schemeClr>
                </a:gs>
                <a:gs pos="74000">
                  <a:schemeClr val="accent6">
                    <a:lumMod val="50000"/>
                  </a:schemeClr>
                </a:gs>
                <a:gs pos="83000">
                  <a:schemeClr val="accent6">
                    <a:lumMod val="50000"/>
                  </a:schemeClr>
                </a:gs>
                <a:gs pos="100000">
                  <a:schemeClr val="accent6">
                    <a:lumMod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Freeform 23"/>
            <p:cNvSpPr/>
            <p:nvPr/>
          </p:nvSpPr>
          <p:spPr>
            <a:xfrm>
              <a:off x="1195770" y="3038047"/>
              <a:ext cx="731520" cy="731520"/>
            </a:xfrm>
            <a:custGeom>
              <a:avLst/>
              <a:gdLst>
                <a:gd name="connsiteX0" fmla="*/ 0 w 731520"/>
                <a:gd name="connsiteY0" fmla="*/ 0 h 731520"/>
                <a:gd name="connsiteX1" fmla="*/ 100658 w 731520"/>
                <a:gd name="connsiteY1" fmla="*/ 0 h 731520"/>
                <a:gd name="connsiteX2" fmla="*/ 91440 w 731520"/>
                <a:gd name="connsiteY2" fmla="*/ 91440 h 731520"/>
                <a:gd name="connsiteX3" fmla="*/ 602522 w 731520"/>
                <a:gd name="connsiteY3" fmla="*/ 718516 h 731520"/>
                <a:gd name="connsiteX4" fmla="*/ 620949 w 731520"/>
                <a:gd name="connsiteY4" fmla="*/ 720374 h 731520"/>
                <a:gd name="connsiteX5" fmla="*/ 620950 w 731520"/>
                <a:gd name="connsiteY5" fmla="*/ 720374 h 731520"/>
                <a:gd name="connsiteX6" fmla="*/ 731520 w 731520"/>
                <a:gd name="connsiteY6" fmla="*/ 731520 h 731520"/>
                <a:gd name="connsiteX7" fmla="*/ 0 w 731520"/>
                <a:gd name="connsiteY7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0" h="731520">
                  <a:moveTo>
                    <a:pt x="0" y="0"/>
                  </a:moveTo>
                  <a:lnTo>
                    <a:pt x="100658" y="0"/>
                  </a:lnTo>
                  <a:lnTo>
                    <a:pt x="91440" y="91440"/>
                  </a:lnTo>
                  <a:cubicBezTo>
                    <a:pt x="91440" y="400758"/>
                    <a:pt x="310848" y="658831"/>
                    <a:pt x="602522" y="718516"/>
                  </a:cubicBezTo>
                  <a:lnTo>
                    <a:pt x="620949" y="720374"/>
                  </a:lnTo>
                  <a:lnTo>
                    <a:pt x="620950" y="720374"/>
                  </a:lnTo>
                  <a:cubicBezTo>
                    <a:pt x="656665" y="727682"/>
                    <a:pt x="693644" y="731520"/>
                    <a:pt x="731520" y="731520"/>
                  </a:cubicBezTo>
                  <a:cubicBezTo>
                    <a:pt x="327513" y="731520"/>
                    <a:pt x="0" y="404007"/>
                    <a:pt x="0" y="0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Freeform 24"/>
            <p:cNvSpPr/>
            <p:nvPr/>
          </p:nvSpPr>
          <p:spPr>
            <a:xfrm>
              <a:off x="1378650" y="3038047"/>
              <a:ext cx="8778240" cy="731520"/>
            </a:xfrm>
            <a:custGeom>
              <a:avLst/>
              <a:gdLst>
                <a:gd name="connsiteX0" fmla="*/ 33593 w 8778240"/>
                <a:gd name="connsiteY0" fmla="*/ 0 h 731520"/>
                <a:gd name="connsiteX1" fmla="*/ 8744647 w 8778240"/>
                <a:gd name="connsiteY1" fmla="*/ 0 h 731520"/>
                <a:gd name="connsiteX2" fmla="*/ 8767094 w 8778240"/>
                <a:gd name="connsiteY2" fmla="*/ 72310 h 731520"/>
                <a:gd name="connsiteX3" fmla="*/ 8778240 w 8778240"/>
                <a:gd name="connsiteY3" fmla="*/ 182880 h 731520"/>
                <a:gd name="connsiteX4" fmla="*/ 8443156 w 8778240"/>
                <a:gd name="connsiteY4" fmla="*/ 688405 h 731520"/>
                <a:gd name="connsiteX5" fmla="*/ 8340172 w 8778240"/>
                <a:gd name="connsiteY5" fmla="*/ 720374 h 731520"/>
                <a:gd name="connsiteX6" fmla="*/ 8229600 w 8778240"/>
                <a:gd name="connsiteY6" fmla="*/ 731520 h 731520"/>
                <a:gd name="connsiteX7" fmla="*/ 548640 w 8778240"/>
                <a:gd name="connsiteY7" fmla="*/ 731520 h 731520"/>
                <a:gd name="connsiteX8" fmla="*/ 438069 w 8778240"/>
                <a:gd name="connsiteY8" fmla="*/ 720374 h 731520"/>
                <a:gd name="connsiteX9" fmla="*/ 335084 w 8778240"/>
                <a:gd name="connsiteY9" fmla="*/ 688405 h 731520"/>
                <a:gd name="connsiteX10" fmla="*/ 0 w 8778240"/>
                <a:gd name="connsiteY10" fmla="*/ 182880 h 731520"/>
                <a:gd name="connsiteX11" fmla="*/ 11146 w 8778240"/>
                <a:gd name="connsiteY11" fmla="*/ 72310 h 731520"/>
                <a:gd name="connsiteX12" fmla="*/ 33593 w 8778240"/>
                <a:gd name="connsiteY12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78240" h="731520">
                  <a:moveTo>
                    <a:pt x="33593" y="0"/>
                  </a:moveTo>
                  <a:lnTo>
                    <a:pt x="8744647" y="0"/>
                  </a:lnTo>
                  <a:lnTo>
                    <a:pt x="8767094" y="72310"/>
                  </a:lnTo>
                  <a:cubicBezTo>
                    <a:pt x="8774402" y="108025"/>
                    <a:pt x="8778240" y="145004"/>
                    <a:pt x="8778240" y="182880"/>
                  </a:cubicBezTo>
                  <a:cubicBezTo>
                    <a:pt x="8778240" y="410135"/>
                    <a:pt x="8640071" y="605117"/>
                    <a:pt x="8443156" y="688405"/>
                  </a:cubicBezTo>
                  <a:lnTo>
                    <a:pt x="8340172" y="720374"/>
                  </a:lnTo>
                  <a:lnTo>
                    <a:pt x="8229600" y="731520"/>
                  </a:lnTo>
                  <a:lnTo>
                    <a:pt x="548640" y="731520"/>
                  </a:lnTo>
                  <a:lnTo>
                    <a:pt x="438069" y="720374"/>
                  </a:lnTo>
                  <a:lnTo>
                    <a:pt x="335084" y="688405"/>
                  </a:lnTo>
                  <a:cubicBezTo>
                    <a:pt x="138169" y="605117"/>
                    <a:pt x="0" y="410135"/>
                    <a:pt x="0" y="182880"/>
                  </a:cubicBezTo>
                  <a:cubicBezTo>
                    <a:pt x="0" y="145004"/>
                    <a:pt x="3838" y="108025"/>
                    <a:pt x="11146" y="72310"/>
                  </a:cubicBezTo>
                  <a:lnTo>
                    <a:pt x="33593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Freeform 25"/>
            <p:cNvSpPr/>
            <p:nvPr/>
          </p:nvSpPr>
          <p:spPr>
            <a:xfrm>
              <a:off x="9608250" y="3038047"/>
              <a:ext cx="731520" cy="731520"/>
            </a:xfrm>
            <a:custGeom>
              <a:avLst/>
              <a:gdLst>
                <a:gd name="connsiteX0" fmla="*/ 630862 w 731520"/>
                <a:gd name="connsiteY0" fmla="*/ 0 h 731520"/>
                <a:gd name="connsiteX1" fmla="*/ 731520 w 731520"/>
                <a:gd name="connsiteY1" fmla="*/ 0 h 731520"/>
                <a:gd name="connsiteX2" fmla="*/ 0 w 731520"/>
                <a:gd name="connsiteY2" fmla="*/ 731520 h 731520"/>
                <a:gd name="connsiteX3" fmla="*/ 110570 w 731520"/>
                <a:gd name="connsiteY3" fmla="*/ 720374 h 731520"/>
                <a:gd name="connsiteX4" fmla="*/ 110572 w 731520"/>
                <a:gd name="connsiteY4" fmla="*/ 720374 h 731520"/>
                <a:gd name="connsiteX5" fmla="*/ 128998 w 731520"/>
                <a:gd name="connsiteY5" fmla="*/ 718516 h 731520"/>
                <a:gd name="connsiteX6" fmla="*/ 640080 w 731520"/>
                <a:gd name="connsiteY6" fmla="*/ 91440 h 731520"/>
                <a:gd name="connsiteX7" fmla="*/ 630862 w 731520"/>
                <a:gd name="connsiteY7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0" h="731520">
                  <a:moveTo>
                    <a:pt x="630862" y="0"/>
                  </a:moveTo>
                  <a:lnTo>
                    <a:pt x="731520" y="0"/>
                  </a:lnTo>
                  <a:cubicBezTo>
                    <a:pt x="731520" y="404007"/>
                    <a:pt x="404007" y="731520"/>
                    <a:pt x="0" y="731520"/>
                  </a:cubicBezTo>
                  <a:cubicBezTo>
                    <a:pt x="37876" y="731520"/>
                    <a:pt x="74855" y="727682"/>
                    <a:pt x="110570" y="720374"/>
                  </a:cubicBezTo>
                  <a:lnTo>
                    <a:pt x="110572" y="720374"/>
                  </a:lnTo>
                  <a:lnTo>
                    <a:pt x="128998" y="718516"/>
                  </a:lnTo>
                  <a:cubicBezTo>
                    <a:pt x="420672" y="658831"/>
                    <a:pt x="640080" y="400758"/>
                    <a:pt x="640080" y="91440"/>
                  </a:cubicBezTo>
                  <a:lnTo>
                    <a:pt x="630862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Freeform 26"/>
            <p:cNvSpPr/>
            <p:nvPr/>
          </p:nvSpPr>
          <p:spPr>
            <a:xfrm>
              <a:off x="9608250" y="3038047"/>
              <a:ext cx="923612" cy="731520"/>
            </a:xfrm>
            <a:custGeom>
              <a:avLst/>
              <a:gdLst>
                <a:gd name="connsiteX0" fmla="*/ 817597 w 923612"/>
                <a:gd name="connsiteY0" fmla="*/ 0 h 731520"/>
                <a:gd name="connsiteX1" fmla="*/ 923612 w 923612"/>
                <a:gd name="connsiteY1" fmla="*/ 0 h 731520"/>
                <a:gd name="connsiteX2" fmla="*/ 917712 w 923612"/>
                <a:gd name="connsiteY2" fmla="*/ 38654 h 731520"/>
                <a:gd name="connsiteX3" fmla="*/ 67595 w 923612"/>
                <a:gd name="connsiteY3" fmla="*/ 731520 h 731520"/>
                <a:gd name="connsiteX4" fmla="*/ 0 w 923612"/>
                <a:gd name="connsiteY4" fmla="*/ 731520 h 731520"/>
                <a:gd name="connsiteX5" fmla="*/ 806240 w 923612"/>
                <a:gd name="connsiteY5" fmla="*/ 74415 h 731520"/>
                <a:gd name="connsiteX6" fmla="*/ 817597 w 923612"/>
                <a:gd name="connsiteY6" fmla="*/ 0 h 73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3612" h="731520">
                  <a:moveTo>
                    <a:pt x="817597" y="0"/>
                  </a:moveTo>
                  <a:lnTo>
                    <a:pt x="923612" y="0"/>
                  </a:lnTo>
                  <a:lnTo>
                    <a:pt x="917712" y="38654"/>
                  </a:lnTo>
                  <a:cubicBezTo>
                    <a:pt x="836798" y="434072"/>
                    <a:pt x="486933" y="731520"/>
                    <a:pt x="67595" y="731520"/>
                  </a:cubicBezTo>
                  <a:lnTo>
                    <a:pt x="0" y="731520"/>
                  </a:lnTo>
                  <a:cubicBezTo>
                    <a:pt x="397694" y="731520"/>
                    <a:pt x="729502" y="449424"/>
                    <a:pt x="806240" y="74415"/>
                  </a:cubicBezTo>
                  <a:lnTo>
                    <a:pt x="817597" y="0"/>
                  </a:lnTo>
                  <a:close/>
                </a:path>
              </a:pathLst>
            </a:custGeom>
            <a:gradFill>
              <a:gsLst>
                <a:gs pos="0">
                  <a:schemeClr val="accent6">
                    <a:lumMod val="50000"/>
                  </a:schemeClr>
                </a:gs>
                <a:gs pos="74000">
                  <a:schemeClr val="accent6">
                    <a:lumMod val="50000"/>
                  </a:schemeClr>
                </a:gs>
                <a:gs pos="83000">
                  <a:schemeClr val="accent6">
                    <a:lumMod val="50000"/>
                  </a:schemeClr>
                </a:gs>
                <a:gs pos="100000">
                  <a:schemeClr val="accent6">
                    <a:lumMod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Title 6"/>
          <p:cNvSpPr txBox="1">
            <a:spLocks/>
          </p:cNvSpPr>
          <p:nvPr/>
        </p:nvSpPr>
        <p:spPr>
          <a:xfrm>
            <a:off x="2415155" y="40730"/>
            <a:ext cx="7708930" cy="80266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 baseline="0">
                <a:solidFill>
                  <a:schemeClr val="tx1"/>
                </a:solidFill>
                <a:latin typeface="NikoshBAN" panose="02000000000000000000" pitchFamily="2" charset="0"/>
                <a:ea typeface="+mj-ea"/>
                <a:cs typeface="NikoshBAN" panose="02000000000000000000" pitchFamily="2" charset="0"/>
              </a:defRPr>
            </a:lvl1pPr>
          </a:lstStyle>
          <a:p>
            <a:pPr algn="ctr"/>
            <a:r>
              <a:rPr lang="en-US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রাষ্ট্রীয়</a:t>
            </a:r>
            <a:r>
              <a:rPr lang="en-US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ব্যবসায়</a:t>
            </a:r>
            <a:endParaRPr lang="en-US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2360467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1" name="Group 490">
            <a:extLst>
              <a:ext uri="{FF2B5EF4-FFF2-40B4-BE49-F238E27FC236}">
                <a16:creationId xmlns="" xmlns:a16="http://schemas.microsoft.com/office/drawing/2014/main" id="{8D9D1E17-53D7-4599-AB04-6DBECEE5C646}"/>
              </a:ext>
            </a:extLst>
          </p:cNvPr>
          <p:cNvGrpSpPr/>
          <p:nvPr/>
        </p:nvGrpSpPr>
        <p:grpSpPr>
          <a:xfrm>
            <a:off x="3345737" y="698448"/>
            <a:ext cx="5472514" cy="5469228"/>
            <a:chOff x="3345737" y="698448"/>
            <a:chExt cx="5472514" cy="5469228"/>
          </a:xfrm>
        </p:grpSpPr>
        <p:grpSp>
          <p:nvGrpSpPr>
            <p:cNvPr id="479" name="Group 478">
              <a:extLst>
                <a:ext uri="{FF2B5EF4-FFF2-40B4-BE49-F238E27FC236}">
                  <a16:creationId xmlns="" xmlns:a16="http://schemas.microsoft.com/office/drawing/2014/main" id="{7CCCA38D-03EF-4470-AB09-1ACB3D4BBE1B}"/>
                </a:ext>
              </a:extLst>
            </p:cNvPr>
            <p:cNvGrpSpPr/>
            <p:nvPr/>
          </p:nvGrpSpPr>
          <p:grpSpPr>
            <a:xfrm>
              <a:off x="3345737" y="698448"/>
              <a:ext cx="5472514" cy="5469228"/>
              <a:chOff x="3345737" y="698448"/>
              <a:chExt cx="5472514" cy="5469228"/>
            </a:xfrm>
          </p:grpSpPr>
          <p:sp>
            <p:nvSpPr>
              <p:cNvPr id="338" name="Freeform: Shape 337">
                <a:extLst>
                  <a:ext uri="{FF2B5EF4-FFF2-40B4-BE49-F238E27FC236}">
                    <a16:creationId xmlns="" xmlns:a16="http://schemas.microsoft.com/office/drawing/2014/main" id="{368923EB-5439-43F4-9560-AEF1266213A1}"/>
                  </a:ext>
                </a:extLst>
              </p:cNvPr>
              <p:cNvSpPr/>
              <p:nvPr/>
            </p:nvSpPr>
            <p:spPr>
              <a:xfrm rot="9900000">
                <a:off x="5513985" y="844853"/>
                <a:ext cx="1184406" cy="403175"/>
              </a:xfrm>
              <a:custGeom>
                <a:avLst/>
                <a:gdLst>
                  <a:gd name="connsiteX0" fmla="*/ 578270 w 1184406"/>
                  <a:gd name="connsiteY0" fmla="*/ 320464 h 403175"/>
                  <a:gd name="connsiteX1" fmla="*/ 103236 w 1184406"/>
                  <a:gd name="connsiteY1" fmla="*/ 140466 h 403175"/>
                  <a:gd name="connsiteX2" fmla="*/ 0 w 1184406"/>
                  <a:gd name="connsiteY2" fmla="*/ 82270 h 403175"/>
                  <a:gd name="connsiteX3" fmla="*/ 47498 w 1184406"/>
                  <a:gd name="connsiteY3" fmla="*/ 0 h 403175"/>
                  <a:gd name="connsiteX4" fmla="*/ 145856 w 1184406"/>
                  <a:gd name="connsiteY4" fmla="*/ 55444 h 403175"/>
                  <a:gd name="connsiteX5" fmla="*/ 602880 w 1184406"/>
                  <a:gd name="connsiteY5" fmla="*/ 228618 h 403175"/>
                  <a:gd name="connsiteX6" fmla="*/ 1085261 w 1184406"/>
                  <a:gd name="connsiteY6" fmla="*/ 307157 h 403175"/>
                  <a:gd name="connsiteX7" fmla="*/ 1184406 w 1184406"/>
                  <a:gd name="connsiteY7" fmla="*/ 308178 h 403175"/>
                  <a:gd name="connsiteX8" fmla="*/ 1184406 w 1184406"/>
                  <a:gd name="connsiteY8" fmla="*/ 403175 h 403175"/>
                  <a:gd name="connsiteX9" fmla="*/ 1079661 w 1184406"/>
                  <a:gd name="connsiteY9" fmla="*/ 402098 h 403175"/>
                  <a:gd name="connsiteX10" fmla="*/ 578270 w 1184406"/>
                  <a:gd name="connsiteY10" fmla="*/ 320464 h 403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84406" h="403175">
                    <a:moveTo>
                      <a:pt x="578270" y="320464"/>
                    </a:moveTo>
                    <a:cubicBezTo>
                      <a:pt x="411033" y="275653"/>
                      <a:pt x="252292" y="214967"/>
                      <a:pt x="103236" y="140466"/>
                    </a:cubicBezTo>
                    <a:lnTo>
                      <a:pt x="0" y="82270"/>
                    </a:lnTo>
                    <a:lnTo>
                      <a:pt x="47498" y="0"/>
                    </a:lnTo>
                    <a:lnTo>
                      <a:pt x="145856" y="55444"/>
                    </a:lnTo>
                    <a:cubicBezTo>
                      <a:pt x="289261" y="127122"/>
                      <a:pt x="441984" y="185506"/>
                      <a:pt x="602880" y="228618"/>
                    </a:cubicBezTo>
                    <a:cubicBezTo>
                      <a:pt x="763776" y="271730"/>
                      <a:pt x="925230" y="297529"/>
                      <a:pt x="1085261" y="307157"/>
                    </a:cubicBezTo>
                    <a:lnTo>
                      <a:pt x="1184406" y="308178"/>
                    </a:lnTo>
                    <a:lnTo>
                      <a:pt x="1184406" y="403175"/>
                    </a:lnTo>
                    <a:lnTo>
                      <a:pt x="1079661" y="402098"/>
                    </a:lnTo>
                    <a:cubicBezTo>
                      <a:pt x="913323" y="392090"/>
                      <a:pt x="745507" y="365275"/>
                      <a:pt x="578270" y="320464"/>
                    </a:cubicBezTo>
                    <a:close/>
                  </a:path>
                </a:pathLst>
              </a:custGeom>
              <a:gradFill>
                <a:gsLst>
                  <a:gs pos="25000">
                    <a:srgbClr val="B536DB"/>
                  </a:gs>
                  <a:gs pos="69000">
                    <a:srgbClr val="DB97ED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7" name="Freeform: Shape 336">
                <a:extLst>
                  <a:ext uri="{FF2B5EF4-FFF2-40B4-BE49-F238E27FC236}">
                    <a16:creationId xmlns="" xmlns:a16="http://schemas.microsoft.com/office/drawing/2014/main" id="{688D716C-86C6-4E7F-BFB0-8615782D79C5}"/>
                  </a:ext>
                </a:extLst>
              </p:cNvPr>
              <p:cNvSpPr/>
              <p:nvPr/>
            </p:nvSpPr>
            <p:spPr>
              <a:xfrm rot="9900000">
                <a:off x="4297768" y="1168454"/>
                <a:ext cx="1189167" cy="396482"/>
              </a:xfrm>
              <a:custGeom>
                <a:avLst/>
                <a:gdLst>
                  <a:gd name="connsiteX0" fmla="*/ 0 w 1189167"/>
                  <a:gd name="connsiteY0" fmla="*/ 395713 h 396482"/>
                  <a:gd name="connsiteX1" fmla="*/ 0 w 1189167"/>
                  <a:gd name="connsiteY1" fmla="*/ 300716 h 396482"/>
                  <a:gd name="connsiteX2" fmla="*/ 71009 w 1189167"/>
                  <a:gd name="connsiteY2" fmla="*/ 301448 h 396482"/>
                  <a:gd name="connsiteX3" fmla="*/ 974892 w 1189167"/>
                  <a:gd name="connsiteY3" fmla="*/ 85859 h 396482"/>
                  <a:gd name="connsiteX4" fmla="*/ 1141623 w 1189167"/>
                  <a:gd name="connsiteY4" fmla="*/ 0 h 396482"/>
                  <a:gd name="connsiteX5" fmla="*/ 1189167 w 1189167"/>
                  <a:gd name="connsiteY5" fmla="*/ 82348 h 396482"/>
                  <a:gd name="connsiteX6" fmla="*/ 1014325 w 1189167"/>
                  <a:gd name="connsiteY6" fmla="*/ 172386 h 396482"/>
                  <a:gd name="connsiteX7" fmla="*/ 74817 w 1189167"/>
                  <a:gd name="connsiteY7" fmla="*/ 396482 h 396482"/>
                  <a:gd name="connsiteX8" fmla="*/ 0 w 1189167"/>
                  <a:gd name="connsiteY8" fmla="*/ 395713 h 396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89167" h="396482">
                    <a:moveTo>
                      <a:pt x="0" y="395713"/>
                    </a:moveTo>
                    <a:lnTo>
                      <a:pt x="0" y="300716"/>
                    </a:lnTo>
                    <a:lnTo>
                      <a:pt x="71009" y="301448"/>
                    </a:lnTo>
                    <a:cubicBezTo>
                      <a:pt x="387235" y="288936"/>
                      <a:pt x="693810" y="214026"/>
                      <a:pt x="974892" y="85859"/>
                    </a:cubicBezTo>
                    <a:lnTo>
                      <a:pt x="1141623" y="0"/>
                    </a:lnTo>
                    <a:lnTo>
                      <a:pt x="1189167" y="82348"/>
                    </a:lnTo>
                    <a:lnTo>
                      <a:pt x="1014325" y="172386"/>
                    </a:lnTo>
                    <a:cubicBezTo>
                      <a:pt x="722164" y="305610"/>
                      <a:pt x="403506" y="383475"/>
                      <a:pt x="74817" y="396482"/>
                    </a:cubicBezTo>
                    <a:lnTo>
                      <a:pt x="0" y="395713"/>
                    </a:lnTo>
                    <a:close/>
                  </a:path>
                </a:pathLst>
              </a:custGeom>
              <a:gradFill>
                <a:gsLst>
                  <a:gs pos="25000">
                    <a:srgbClr val="3E36E3"/>
                  </a:gs>
                  <a:gs pos="69000">
                    <a:srgbClr val="A5A1F5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36" name="Freeform: Shape 335">
                <a:extLst>
                  <a:ext uri="{FF2B5EF4-FFF2-40B4-BE49-F238E27FC236}">
                    <a16:creationId xmlns="" xmlns:a16="http://schemas.microsoft.com/office/drawing/2014/main" id="{5E9CBA05-AF75-42E5-AEAA-EACA82660270}"/>
                  </a:ext>
                </a:extLst>
              </p:cNvPr>
              <p:cNvSpPr/>
              <p:nvPr/>
            </p:nvSpPr>
            <p:spPr>
              <a:xfrm rot="9900000">
                <a:off x="6832505" y="903890"/>
                <a:ext cx="914134" cy="915232"/>
              </a:xfrm>
              <a:custGeom>
                <a:avLst/>
                <a:gdLst>
                  <a:gd name="connsiteX0" fmla="*/ 866636 w 914134"/>
                  <a:gd name="connsiteY0" fmla="*/ 915232 h 915232"/>
                  <a:gd name="connsiteX1" fmla="*/ 813443 w 914134"/>
                  <a:gd name="connsiteY1" fmla="*/ 885247 h 915232"/>
                  <a:gd name="connsiteX2" fmla="*/ 111853 w 914134"/>
                  <a:gd name="connsiteY2" fmla="*/ 221420 h 915232"/>
                  <a:gd name="connsiteX3" fmla="*/ 0 w 914134"/>
                  <a:gd name="connsiteY3" fmla="*/ 47544 h 915232"/>
                  <a:gd name="connsiteX4" fmla="*/ 82347 w 914134"/>
                  <a:gd name="connsiteY4" fmla="*/ 0 h 915232"/>
                  <a:gd name="connsiteX5" fmla="*/ 189267 w 914134"/>
                  <a:gd name="connsiteY5" fmla="*/ 166201 h 915232"/>
                  <a:gd name="connsiteX6" fmla="*/ 864258 w 914134"/>
                  <a:gd name="connsiteY6" fmla="*/ 804848 h 915232"/>
                  <a:gd name="connsiteX7" fmla="*/ 914134 w 914134"/>
                  <a:gd name="connsiteY7" fmla="*/ 832963 h 915232"/>
                  <a:gd name="connsiteX8" fmla="*/ 866636 w 914134"/>
                  <a:gd name="connsiteY8" fmla="*/ 915232 h 9152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14134" h="915232">
                    <a:moveTo>
                      <a:pt x="866636" y="915232"/>
                    </a:moveTo>
                    <a:lnTo>
                      <a:pt x="813443" y="885247"/>
                    </a:lnTo>
                    <a:cubicBezTo>
                      <a:pt x="535294" y="709637"/>
                      <a:pt x="298260" y="482875"/>
                      <a:pt x="111853" y="221420"/>
                    </a:cubicBezTo>
                    <a:lnTo>
                      <a:pt x="0" y="47544"/>
                    </a:lnTo>
                    <a:lnTo>
                      <a:pt x="82347" y="0"/>
                    </a:lnTo>
                    <a:lnTo>
                      <a:pt x="189267" y="166201"/>
                    </a:lnTo>
                    <a:cubicBezTo>
                      <a:pt x="368608" y="417738"/>
                      <a:pt x="596655" y="635899"/>
                      <a:pt x="864258" y="804848"/>
                    </a:cubicBezTo>
                    <a:lnTo>
                      <a:pt x="914134" y="832963"/>
                    </a:lnTo>
                    <a:lnTo>
                      <a:pt x="866636" y="915232"/>
                    </a:lnTo>
                    <a:close/>
                  </a:path>
                </a:pathLst>
              </a:custGeom>
              <a:gradFill>
                <a:gsLst>
                  <a:gs pos="38000">
                    <a:srgbClr val="E03890"/>
                  </a:gs>
                  <a:gs pos="69000">
                    <a:srgbClr val="F2ACD1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31" name="Freeform: Shape 330">
                <a:extLst>
                  <a:ext uri="{FF2B5EF4-FFF2-40B4-BE49-F238E27FC236}">
                    <a16:creationId xmlns="" xmlns:a16="http://schemas.microsoft.com/office/drawing/2014/main" id="{3B681814-4BAC-4048-A187-3B6CF826C76F}"/>
                  </a:ext>
                </a:extLst>
              </p:cNvPr>
              <p:cNvSpPr/>
              <p:nvPr/>
            </p:nvSpPr>
            <p:spPr>
              <a:xfrm rot="9900000">
                <a:off x="3557063" y="1771759"/>
                <a:ext cx="922013" cy="916296"/>
              </a:xfrm>
              <a:custGeom>
                <a:avLst/>
                <a:gdLst>
                  <a:gd name="connsiteX0" fmla="*/ 47544 w 922013"/>
                  <a:gd name="connsiteY0" fmla="*/ 916296 h 916296"/>
                  <a:gd name="connsiteX1" fmla="*/ 0 w 922013"/>
                  <a:gd name="connsiteY1" fmla="*/ 833949 h 916296"/>
                  <a:gd name="connsiteX2" fmla="*/ 173931 w 922013"/>
                  <a:gd name="connsiteY2" fmla="*/ 722231 h 916296"/>
                  <a:gd name="connsiteX3" fmla="*/ 812731 w 922013"/>
                  <a:gd name="connsiteY3" fmla="*/ 47880 h 916296"/>
                  <a:gd name="connsiteX4" fmla="*/ 839743 w 922013"/>
                  <a:gd name="connsiteY4" fmla="*/ 0 h 916296"/>
                  <a:gd name="connsiteX5" fmla="*/ 922013 w 922013"/>
                  <a:gd name="connsiteY5" fmla="*/ 47498 h 916296"/>
                  <a:gd name="connsiteX6" fmla="*/ 893129 w 922013"/>
                  <a:gd name="connsiteY6" fmla="*/ 98696 h 916296"/>
                  <a:gd name="connsiteX7" fmla="*/ 229149 w 922013"/>
                  <a:gd name="connsiteY7" fmla="*/ 799643 h 916296"/>
                  <a:gd name="connsiteX8" fmla="*/ 47544 w 922013"/>
                  <a:gd name="connsiteY8" fmla="*/ 916296 h 9162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22013" h="916296">
                    <a:moveTo>
                      <a:pt x="47544" y="916296"/>
                    </a:moveTo>
                    <a:lnTo>
                      <a:pt x="0" y="833949"/>
                    </a:lnTo>
                    <a:lnTo>
                      <a:pt x="173931" y="722231"/>
                    </a:lnTo>
                    <a:cubicBezTo>
                      <a:pt x="425559" y="543089"/>
                      <a:pt x="643773" y="315260"/>
                      <a:pt x="812731" y="47880"/>
                    </a:cubicBezTo>
                    <a:lnTo>
                      <a:pt x="839743" y="0"/>
                    </a:lnTo>
                    <a:lnTo>
                      <a:pt x="922013" y="47498"/>
                    </a:lnTo>
                    <a:lnTo>
                      <a:pt x="893129" y="98696"/>
                    </a:lnTo>
                    <a:cubicBezTo>
                      <a:pt x="717511" y="376621"/>
                      <a:pt x="490696" y="613437"/>
                      <a:pt x="229149" y="799643"/>
                    </a:cubicBezTo>
                    <a:lnTo>
                      <a:pt x="47544" y="916296"/>
                    </a:lnTo>
                    <a:close/>
                  </a:path>
                </a:pathLst>
              </a:custGeom>
              <a:gradFill>
                <a:gsLst>
                  <a:gs pos="25000">
                    <a:srgbClr val="019EFF"/>
                  </a:gs>
                  <a:gs pos="69000">
                    <a:srgbClr val="85D3FF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30" name="Freeform: Shape 329">
                <a:extLst>
                  <a:ext uri="{FF2B5EF4-FFF2-40B4-BE49-F238E27FC236}">
                    <a16:creationId xmlns="" xmlns:a16="http://schemas.microsoft.com/office/drawing/2014/main" id="{8EF53686-6AC7-4A0B-82AE-AC60F81668D9}"/>
                  </a:ext>
                </a:extLst>
              </p:cNvPr>
              <p:cNvSpPr/>
              <p:nvPr/>
            </p:nvSpPr>
            <p:spPr>
              <a:xfrm rot="9900000">
                <a:off x="7952570" y="1637029"/>
                <a:ext cx="401223" cy="1184362"/>
              </a:xfrm>
              <a:custGeom>
                <a:avLst/>
                <a:gdLst>
                  <a:gd name="connsiteX0" fmla="*/ 318877 w 401223"/>
                  <a:gd name="connsiteY0" fmla="*/ 1184362 h 1184362"/>
                  <a:gd name="connsiteX1" fmla="*/ 224550 w 401223"/>
                  <a:gd name="connsiteY1" fmla="*/ 1001496 h 1184362"/>
                  <a:gd name="connsiteX2" fmla="*/ 0 w 401223"/>
                  <a:gd name="connsiteY2" fmla="*/ 62467 h 1184362"/>
                  <a:gd name="connsiteX3" fmla="*/ 622 w 401223"/>
                  <a:gd name="connsiteY3" fmla="*/ 0 h 1184362"/>
                  <a:gd name="connsiteX4" fmla="*/ 95618 w 401223"/>
                  <a:gd name="connsiteY4" fmla="*/ 1 h 1184362"/>
                  <a:gd name="connsiteX5" fmla="*/ 95035 w 401223"/>
                  <a:gd name="connsiteY5" fmla="*/ 58658 h 1184362"/>
                  <a:gd name="connsiteX6" fmla="*/ 311077 w 401223"/>
                  <a:gd name="connsiteY6" fmla="*/ 962064 h 1184362"/>
                  <a:gd name="connsiteX7" fmla="*/ 401223 w 401223"/>
                  <a:gd name="connsiteY7" fmla="*/ 1136819 h 1184362"/>
                  <a:gd name="connsiteX8" fmla="*/ 318877 w 401223"/>
                  <a:gd name="connsiteY8" fmla="*/ 1184362 h 1184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1223" h="1184362">
                    <a:moveTo>
                      <a:pt x="318877" y="1184362"/>
                    </a:moveTo>
                    <a:lnTo>
                      <a:pt x="224550" y="1001496"/>
                    </a:lnTo>
                    <a:cubicBezTo>
                      <a:pt x="91147" y="709463"/>
                      <a:pt x="13127" y="390966"/>
                      <a:pt x="0" y="62467"/>
                    </a:cubicBezTo>
                    <a:lnTo>
                      <a:pt x="622" y="0"/>
                    </a:lnTo>
                    <a:lnTo>
                      <a:pt x="95618" y="1"/>
                    </a:lnTo>
                    <a:lnTo>
                      <a:pt x="95035" y="58658"/>
                    </a:lnTo>
                    <a:cubicBezTo>
                      <a:pt x="107666" y="374695"/>
                      <a:pt x="182731" y="681108"/>
                      <a:pt x="311077" y="962064"/>
                    </a:cubicBezTo>
                    <a:lnTo>
                      <a:pt x="401223" y="1136819"/>
                    </a:lnTo>
                    <a:lnTo>
                      <a:pt x="318877" y="1184362"/>
                    </a:lnTo>
                    <a:close/>
                  </a:path>
                </a:pathLst>
              </a:custGeom>
              <a:gradFill>
                <a:gsLst>
                  <a:gs pos="25000">
                    <a:srgbClr val="DA0000"/>
                  </a:gs>
                  <a:gs pos="69000">
                    <a:srgbClr val="FF8F8F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23" name="Freeform: Shape 322">
                <a:extLst>
                  <a:ext uri="{FF2B5EF4-FFF2-40B4-BE49-F238E27FC236}">
                    <a16:creationId xmlns="" xmlns:a16="http://schemas.microsoft.com/office/drawing/2014/main" id="{C2EA668B-0889-40C4-92E7-8A341852C02F}"/>
                  </a:ext>
                </a:extLst>
              </p:cNvPr>
              <p:cNvSpPr/>
              <p:nvPr/>
            </p:nvSpPr>
            <p:spPr>
              <a:xfrm rot="9900000">
                <a:off x="3498390" y="2823006"/>
                <a:ext cx="404100" cy="1191370"/>
              </a:xfrm>
              <a:custGeom>
                <a:avLst/>
                <a:gdLst>
                  <a:gd name="connsiteX0" fmla="*/ 82269 w 404100"/>
                  <a:gd name="connsiteY0" fmla="*/ 1191370 h 1191370"/>
                  <a:gd name="connsiteX1" fmla="*/ 0 w 404100"/>
                  <a:gd name="connsiteY1" fmla="*/ 1143872 h 1191370"/>
                  <a:gd name="connsiteX2" fmla="*/ 56525 w 404100"/>
                  <a:gd name="connsiteY2" fmla="*/ 1043678 h 1191370"/>
                  <a:gd name="connsiteX3" fmla="*/ 229642 w 404100"/>
                  <a:gd name="connsiteY3" fmla="*/ 586996 h 1191370"/>
                  <a:gd name="connsiteX4" fmla="*/ 308060 w 404100"/>
                  <a:gd name="connsiteY4" fmla="*/ 104939 h 1191370"/>
                  <a:gd name="connsiteX5" fmla="*/ 309104 w 404100"/>
                  <a:gd name="connsiteY5" fmla="*/ 0 h 1191370"/>
                  <a:gd name="connsiteX6" fmla="*/ 404100 w 404100"/>
                  <a:gd name="connsiteY6" fmla="*/ 0 h 1191370"/>
                  <a:gd name="connsiteX7" fmla="*/ 402999 w 404100"/>
                  <a:gd name="connsiteY7" fmla="*/ 110539 h 1191370"/>
                  <a:gd name="connsiteX8" fmla="*/ 321488 w 404100"/>
                  <a:gd name="connsiteY8" fmla="*/ 611606 h 1191370"/>
                  <a:gd name="connsiteX9" fmla="*/ 141546 w 404100"/>
                  <a:gd name="connsiteY9" fmla="*/ 1086298 h 1191370"/>
                  <a:gd name="connsiteX10" fmla="*/ 82269 w 404100"/>
                  <a:gd name="connsiteY10" fmla="*/ 1191370 h 1191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04100" h="1191370">
                    <a:moveTo>
                      <a:pt x="82269" y="1191370"/>
                    </a:moveTo>
                    <a:lnTo>
                      <a:pt x="0" y="1143872"/>
                    </a:lnTo>
                    <a:lnTo>
                      <a:pt x="56525" y="1043678"/>
                    </a:lnTo>
                    <a:cubicBezTo>
                      <a:pt x="128195" y="900386"/>
                      <a:pt x="186561" y="747778"/>
                      <a:pt x="229642" y="586996"/>
                    </a:cubicBezTo>
                    <a:cubicBezTo>
                      <a:pt x="272724" y="426214"/>
                      <a:pt x="298481" y="264868"/>
                      <a:pt x="308060" y="104939"/>
                    </a:cubicBezTo>
                    <a:lnTo>
                      <a:pt x="309104" y="0"/>
                    </a:lnTo>
                    <a:lnTo>
                      <a:pt x="404100" y="0"/>
                    </a:lnTo>
                    <a:lnTo>
                      <a:pt x="402999" y="110539"/>
                    </a:lnTo>
                    <a:cubicBezTo>
                      <a:pt x="393043" y="276775"/>
                      <a:pt x="366269" y="444483"/>
                      <a:pt x="321488" y="611606"/>
                    </a:cubicBezTo>
                    <a:cubicBezTo>
                      <a:pt x="276708" y="778729"/>
                      <a:pt x="216041" y="937355"/>
                      <a:pt x="141546" y="1086298"/>
                    </a:cubicBezTo>
                    <a:lnTo>
                      <a:pt x="82269" y="1191370"/>
                    </a:lnTo>
                    <a:close/>
                  </a:path>
                </a:pathLst>
              </a:custGeom>
              <a:gradFill>
                <a:gsLst>
                  <a:gs pos="43000">
                    <a:srgbClr val="00C8B9"/>
                  </a:gs>
                  <a:gs pos="69000">
                    <a:srgbClr val="89FFF7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22" name="Freeform: Shape 321">
                <a:extLst>
                  <a:ext uri="{FF2B5EF4-FFF2-40B4-BE49-F238E27FC236}">
                    <a16:creationId xmlns="" xmlns:a16="http://schemas.microsoft.com/office/drawing/2014/main" id="{98AD6C82-0D80-4EC1-9120-6A466F664B01}"/>
                  </a:ext>
                </a:extLst>
              </p:cNvPr>
              <p:cNvSpPr/>
              <p:nvPr/>
            </p:nvSpPr>
            <p:spPr>
              <a:xfrm rot="9900000">
                <a:off x="8279541" y="2847096"/>
                <a:ext cx="397392" cy="1185776"/>
              </a:xfrm>
              <a:custGeom>
                <a:avLst/>
                <a:gdLst>
                  <a:gd name="connsiteX0" fmla="*/ 0 w 397392"/>
                  <a:gd name="connsiteY0" fmla="*/ 1185776 h 1185776"/>
                  <a:gd name="connsiteX1" fmla="*/ 1164 w 397392"/>
                  <a:gd name="connsiteY1" fmla="*/ 1068828 h 1185776"/>
                  <a:gd name="connsiteX2" fmla="*/ 82676 w 397392"/>
                  <a:gd name="connsiteY2" fmla="*/ 567761 h 1185776"/>
                  <a:gd name="connsiteX3" fmla="*/ 262618 w 397392"/>
                  <a:gd name="connsiteY3" fmla="*/ 93069 h 1185776"/>
                  <a:gd name="connsiteX4" fmla="*/ 315123 w 397392"/>
                  <a:gd name="connsiteY4" fmla="*/ 0 h 1185776"/>
                  <a:gd name="connsiteX5" fmla="*/ 397392 w 397392"/>
                  <a:gd name="connsiteY5" fmla="*/ 47498 h 1185776"/>
                  <a:gd name="connsiteX6" fmla="*/ 347638 w 397392"/>
                  <a:gd name="connsiteY6" fmla="*/ 135689 h 1185776"/>
                  <a:gd name="connsiteX7" fmla="*/ 174522 w 397392"/>
                  <a:gd name="connsiteY7" fmla="*/ 592371 h 1185776"/>
                  <a:gd name="connsiteX8" fmla="*/ 96104 w 397392"/>
                  <a:gd name="connsiteY8" fmla="*/ 1074428 h 1185776"/>
                  <a:gd name="connsiteX9" fmla="*/ 94996 w 397392"/>
                  <a:gd name="connsiteY9" fmla="*/ 1185776 h 1185776"/>
                  <a:gd name="connsiteX10" fmla="*/ 0 w 397392"/>
                  <a:gd name="connsiteY10" fmla="*/ 1185776 h 1185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97392" h="1185776">
                    <a:moveTo>
                      <a:pt x="0" y="1185776"/>
                    </a:moveTo>
                    <a:lnTo>
                      <a:pt x="1164" y="1068828"/>
                    </a:lnTo>
                    <a:cubicBezTo>
                      <a:pt x="11121" y="902592"/>
                      <a:pt x="37895" y="734884"/>
                      <a:pt x="82676" y="567761"/>
                    </a:cubicBezTo>
                    <a:cubicBezTo>
                      <a:pt x="127456" y="400639"/>
                      <a:pt x="188123" y="242012"/>
                      <a:pt x="262618" y="93069"/>
                    </a:cubicBezTo>
                    <a:lnTo>
                      <a:pt x="315123" y="0"/>
                    </a:lnTo>
                    <a:lnTo>
                      <a:pt x="397392" y="47498"/>
                    </a:lnTo>
                    <a:lnTo>
                      <a:pt x="347638" y="135689"/>
                    </a:lnTo>
                    <a:cubicBezTo>
                      <a:pt x="275969" y="278981"/>
                      <a:pt x="217603" y="431589"/>
                      <a:pt x="174522" y="592371"/>
                    </a:cubicBezTo>
                    <a:cubicBezTo>
                      <a:pt x="131440" y="753154"/>
                      <a:pt x="105682" y="914499"/>
                      <a:pt x="96104" y="1074428"/>
                    </a:cubicBezTo>
                    <a:lnTo>
                      <a:pt x="94996" y="1185776"/>
                    </a:lnTo>
                    <a:lnTo>
                      <a:pt x="0" y="1185776"/>
                    </a:lnTo>
                    <a:close/>
                  </a:path>
                </a:pathLst>
              </a:custGeom>
              <a:gradFill>
                <a:gsLst>
                  <a:gs pos="25000">
                    <a:srgbClr val="FF6600"/>
                  </a:gs>
                  <a:gs pos="69000">
                    <a:srgbClr val="FFB989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89" name="Freeform: Shape 288">
                <a:extLst>
                  <a:ext uri="{FF2B5EF4-FFF2-40B4-BE49-F238E27FC236}">
                    <a16:creationId xmlns="" xmlns:a16="http://schemas.microsoft.com/office/drawing/2014/main" id="{A8BB82B4-7A98-497B-9253-20190F7BC4D3}"/>
                  </a:ext>
                </a:extLst>
              </p:cNvPr>
              <p:cNvSpPr/>
              <p:nvPr/>
            </p:nvSpPr>
            <p:spPr>
              <a:xfrm rot="9900000">
                <a:off x="7710252" y="4165979"/>
                <a:ext cx="914075" cy="918852"/>
              </a:xfrm>
              <a:custGeom>
                <a:avLst/>
                <a:gdLst>
                  <a:gd name="connsiteX0" fmla="*/ 82269 w 914075"/>
                  <a:gd name="connsiteY0" fmla="*/ 918852 h 918852"/>
                  <a:gd name="connsiteX1" fmla="*/ 0 w 914075"/>
                  <a:gd name="connsiteY1" fmla="*/ 871354 h 918852"/>
                  <a:gd name="connsiteX2" fmla="*/ 35654 w 914075"/>
                  <a:gd name="connsiteY2" fmla="*/ 808152 h 918852"/>
                  <a:gd name="connsiteX3" fmla="*/ 699635 w 914075"/>
                  <a:gd name="connsiteY3" fmla="*/ 107205 h 918852"/>
                  <a:gd name="connsiteX4" fmla="*/ 866533 w 914075"/>
                  <a:gd name="connsiteY4" fmla="*/ 0 h 918852"/>
                  <a:gd name="connsiteX5" fmla="*/ 914075 w 914075"/>
                  <a:gd name="connsiteY5" fmla="*/ 82346 h 918852"/>
                  <a:gd name="connsiteX6" fmla="*/ 754853 w 914075"/>
                  <a:gd name="connsiteY6" fmla="*/ 184617 h 918852"/>
                  <a:gd name="connsiteX7" fmla="*/ 116053 w 914075"/>
                  <a:gd name="connsiteY7" fmla="*/ 858968 h 918852"/>
                  <a:gd name="connsiteX8" fmla="*/ 82269 w 914075"/>
                  <a:gd name="connsiteY8" fmla="*/ 918852 h 918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14075" h="918852">
                    <a:moveTo>
                      <a:pt x="82269" y="918852"/>
                    </a:moveTo>
                    <a:lnTo>
                      <a:pt x="0" y="871354"/>
                    </a:lnTo>
                    <a:lnTo>
                      <a:pt x="35654" y="808152"/>
                    </a:lnTo>
                    <a:cubicBezTo>
                      <a:pt x="211273" y="530228"/>
                      <a:pt x="438088" y="293411"/>
                      <a:pt x="699635" y="107205"/>
                    </a:cubicBezTo>
                    <a:lnTo>
                      <a:pt x="866533" y="0"/>
                    </a:lnTo>
                    <a:lnTo>
                      <a:pt x="914075" y="82346"/>
                    </a:lnTo>
                    <a:lnTo>
                      <a:pt x="754853" y="184617"/>
                    </a:lnTo>
                    <a:cubicBezTo>
                      <a:pt x="503225" y="363759"/>
                      <a:pt x="285010" y="591589"/>
                      <a:pt x="116053" y="858968"/>
                    </a:cubicBezTo>
                    <a:lnTo>
                      <a:pt x="82269" y="918852"/>
                    </a:lnTo>
                    <a:close/>
                  </a:path>
                </a:pathLst>
              </a:custGeom>
              <a:gradFill>
                <a:gsLst>
                  <a:gs pos="49000">
                    <a:srgbClr val="E9A701"/>
                  </a:gs>
                  <a:gs pos="76000">
                    <a:srgbClr val="FFE8A7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88" name="Freeform: Shape 287">
                <a:extLst>
                  <a:ext uri="{FF2B5EF4-FFF2-40B4-BE49-F238E27FC236}">
                    <a16:creationId xmlns="" xmlns:a16="http://schemas.microsoft.com/office/drawing/2014/main" id="{98EFB482-F494-4E63-B6C0-CA0E99F9979F}"/>
                  </a:ext>
                </a:extLst>
              </p:cNvPr>
              <p:cNvSpPr/>
              <p:nvPr/>
            </p:nvSpPr>
            <p:spPr>
              <a:xfrm rot="9900000">
                <a:off x="3823424" y="4040561"/>
                <a:ext cx="402454" cy="1193156"/>
              </a:xfrm>
              <a:custGeom>
                <a:avLst/>
                <a:gdLst>
                  <a:gd name="connsiteX0" fmla="*/ 306772 w 402454"/>
                  <a:gd name="connsiteY0" fmla="*/ 1193156 h 1193156"/>
                  <a:gd name="connsiteX1" fmla="*/ 307419 w 402454"/>
                  <a:gd name="connsiteY1" fmla="*/ 1128089 h 1193156"/>
                  <a:gd name="connsiteX2" fmla="*/ 91377 w 402454"/>
                  <a:gd name="connsiteY2" fmla="*/ 224683 h 1193156"/>
                  <a:gd name="connsiteX3" fmla="*/ 0 w 402454"/>
                  <a:gd name="connsiteY3" fmla="*/ 47543 h 1193156"/>
                  <a:gd name="connsiteX4" fmla="*/ 82347 w 402454"/>
                  <a:gd name="connsiteY4" fmla="*/ 0 h 1193156"/>
                  <a:gd name="connsiteX5" fmla="*/ 177904 w 402454"/>
                  <a:gd name="connsiteY5" fmla="*/ 185252 h 1193156"/>
                  <a:gd name="connsiteX6" fmla="*/ 402454 w 402454"/>
                  <a:gd name="connsiteY6" fmla="*/ 1124280 h 1193156"/>
                  <a:gd name="connsiteX7" fmla="*/ 401768 w 402454"/>
                  <a:gd name="connsiteY7" fmla="*/ 1193155 h 1193156"/>
                  <a:gd name="connsiteX8" fmla="*/ 306772 w 402454"/>
                  <a:gd name="connsiteY8" fmla="*/ 1193156 h 1193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02454" h="1193156">
                    <a:moveTo>
                      <a:pt x="306772" y="1193156"/>
                    </a:moveTo>
                    <a:lnTo>
                      <a:pt x="307419" y="1128089"/>
                    </a:lnTo>
                    <a:cubicBezTo>
                      <a:pt x="294787" y="812052"/>
                      <a:pt x="219723" y="505639"/>
                      <a:pt x="91377" y="224683"/>
                    </a:cubicBezTo>
                    <a:lnTo>
                      <a:pt x="0" y="47543"/>
                    </a:lnTo>
                    <a:lnTo>
                      <a:pt x="82347" y="0"/>
                    </a:lnTo>
                    <a:lnTo>
                      <a:pt x="177904" y="185252"/>
                    </a:lnTo>
                    <a:cubicBezTo>
                      <a:pt x="311307" y="477285"/>
                      <a:pt x="389327" y="795781"/>
                      <a:pt x="402454" y="1124280"/>
                    </a:cubicBezTo>
                    <a:lnTo>
                      <a:pt x="401768" y="1193155"/>
                    </a:lnTo>
                    <a:lnTo>
                      <a:pt x="306772" y="1193156"/>
                    </a:lnTo>
                    <a:close/>
                  </a:path>
                </a:pathLst>
              </a:custGeom>
              <a:gradFill>
                <a:gsLst>
                  <a:gs pos="35000">
                    <a:srgbClr val="00A479"/>
                  </a:gs>
                  <a:gs pos="69000">
                    <a:srgbClr val="19FFC3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87" name="Freeform: Shape 286">
                <a:extLst>
                  <a:ext uri="{FF2B5EF4-FFF2-40B4-BE49-F238E27FC236}">
                    <a16:creationId xmlns="" xmlns:a16="http://schemas.microsoft.com/office/drawing/2014/main" id="{37700097-6BD1-4EB4-B50A-E8F516BFAF67}"/>
                  </a:ext>
                </a:extLst>
              </p:cNvPr>
              <p:cNvSpPr/>
              <p:nvPr/>
            </p:nvSpPr>
            <p:spPr>
              <a:xfrm rot="9900000">
                <a:off x="6705707" y="5291508"/>
                <a:ext cx="1188246" cy="404485"/>
              </a:xfrm>
              <a:custGeom>
                <a:avLst/>
                <a:gdLst>
                  <a:gd name="connsiteX0" fmla="*/ 47543 w 1188246"/>
                  <a:gd name="connsiteY0" fmla="*/ 404485 h 404485"/>
                  <a:gd name="connsiteX1" fmla="*/ 0 w 1188246"/>
                  <a:gd name="connsiteY1" fmla="*/ 322138 h 404485"/>
                  <a:gd name="connsiteX2" fmla="*/ 190384 w 1188246"/>
                  <a:gd name="connsiteY2" fmla="*/ 224096 h 404485"/>
                  <a:gd name="connsiteX3" fmla="*/ 1129892 w 1188246"/>
                  <a:gd name="connsiteY3" fmla="*/ 0 h 404485"/>
                  <a:gd name="connsiteX4" fmla="*/ 1188246 w 1188246"/>
                  <a:gd name="connsiteY4" fmla="*/ 600 h 404485"/>
                  <a:gd name="connsiteX5" fmla="*/ 1188246 w 1188246"/>
                  <a:gd name="connsiteY5" fmla="*/ 95596 h 404485"/>
                  <a:gd name="connsiteX6" fmla="*/ 1133700 w 1188246"/>
                  <a:gd name="connsiteY6" fmla="*/ 95035 h 404485"/>
                  <a:gd name="connsiteX7" fmla="*/ 229817 w 1188246"/>
                  <a:gd name="connsiteY7" fmla="*/ 310623 h 404485"/>
                  <a:gd name="connsiteX8" fmla="*/ 47543 w 1188246"/>
                  <a:gd name="connsiteY8" fmla="*/ 404485 h 404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88246" h="404485">
                    <a:moveTo>
                      <a:pt x="47543" y="404485"/>
                    </a:moveTo>
                    <a:lnTo>
                      <a:pt x="0" y="322138"/>
                    </a:lnTo>
                    <a:lnTo>
                      <a:pt x="190384" y="224096"/>
                    </a:lnTo>
                    <a:cubicBezTo>
                      <a:pt x="482545" y="90873"/>
                      <a:pt x="801203" y="13007"/>
                      <a:pt x="1129892" y="0"/>
                    </a:cubicBezTo>
                    <a:lnTo>
                      <a:pt x="1188246" y="600"/>
                    </a:lnTo>
                    <a:lnTo>
                      <a:pt x="1188246" y="95596"/>
                    </a:lnTo>
                    <a:lnTo>
                      <a:pt x="1133700" y="95035"/>
                    </a:lnTo>
                    <a:cubicBezTo>
                      <a:pt x="817474" y="107547"/>
                      <a:pt x="510899" y="182456"/>
                      <a:pt x="229817" y="310623"/>
                    </a:cubicBezTo>
                    <a:lnTo>
                      <a:pt x="47543" y="404485"/>
                    </a:lnTo>
                    <a:close/>
                  </a:path>
                </a:pathLst>
              </a:custGeom>
              <a:gradFill>
                <a:gsLst>
                  <a:gs pos="47000">
                    <a:srgbClr val="C8DD01"/>
                  </a:gs>
                  <a:gs pos="69000">
                    <a:srgbClr val="E5FD01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86" name="Freeform: Shape 285">
                <a:extLst>
                  <a:ext uri="{FF2B5EF4-FFF2-40B4-BE49-F238E27FC236}">
                    <a16:creationId xmlns="" xmlns:a16="http://schemas.microsoft.com/office/drawing/2014/main" id="{B6266F8C-1AA5-455F-835E-CCDAD2BFB69D}"/>
                  </a:ext>
                </a:extLst>
              </p:cNvPr>
              <p:cNvSpPr/>
              <p:nvPr/>
            </p:nvSpPr>
            <p:spPr>
              <a:xfrm rot="9900000">
                <a:off x="4433377" y="5050023"/>
                <a:ext cx="922311" cy="918402"/>
              </a:xfrm>
              <a:custGeom>
                <a:avLst/>
                <a:gdLst>
                  <a:gd name="connsiteX0" fmla="*/ 839963 w 922311"/>
                  <a:gd name="connsiteY0" fmla="*/ 918402 h 918402"/>
                  <a:gd name="connsiteX1" fmla="*/ 734496 w 922311"/>
                  <a:gd name="connsiteY1" fmla="*/ 754458 h 918402"/>
                  <a:gd name="connsiteX2" fmla="*/ 59504 w 922311"/>
                  <a:gd name="connsiteY2" fmla="*/ 115811 h 918402"/>
                  <a:gd name="connsiteX3" fmla="*/ 0 w 922311"/>
                  <a:gd name="connsiteY3" fmla="*/ 82268 h 918402"/>
                  <a:gd name="connsiteX4" fmla="*/ 47499 w 922311"/>
                  <a:gd name="connsiteY4" fmla="*/ 0 h 918402"/>
                  <a:gd name="connsiteX5" fmla="*/ 110320 w 922311"/>
                  <a:gd name="connsiteY5" fmla="*/ 35412 h 918402"/>
                  <a:gd name="connsiteX6" fmla="*/ 811910 w 922311"/>
                  <a:gd name="connsiteY6" fmla="*/ 699240 h 918402"/>
                  <a:gd name="connsiteX7" fmla="*/ 922311 w 922311"/>
                  <a:gd name="connsiteY7" fmla="*/ 870858 h 918402"/>
                  <a:gd name="connsiteX8" fmla="*/ 839963 w 922311"/>
                  <a:gd name="connsiteY8" fmla="*/ 918402 h 918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22311" h="918402">
                    <a:moveTo>
                      <a:pt x="839963" y="918402"/>
                    </a:moveTo>
                    <a:lnTo>
                      <a:pt x="734496" y="754458"/>
                    </a:lnTo>
                    <a:cubicBezTo>
                      <a:pt x="555155" y="502921"/>
                      <a:pt x="327108" y="284760"/>
                      <a:pt x="59504" y="115811"/>
                    </a:cubicBezTo>
                    <a:lnTo>
                      <a:pt x="0" y="82268"/>
                    </a:lnTo>
                    <a:lnTo>
                      <a:pt x="47499" y="0"/>
                    </a:lnTo>
                    <a:lnTo>
                      <a:pt x="110320" y="35412"/>
                    </a:lnTo>
                    <a:cubicBezTo>
                      <a:pt x="388469" y="211022"/>
                      <a:pt x="625502" y="437785"/>
                      <a:pt x="811910" y="699240"/>
                    </a:cubicBezTo>
                    <a:lnTo>
                      <a:pt x="922311" y="870858"/>
                    </a:lnTo>
                    <a:lnTo>
                      <a:pt x="839963" y="918402"/>
                    </a:lnTo>
                    <a:close/>
                  </a:path>
                </a:pathLst>
              </a:custGeom>
              <a:gradFill>
                <a:gsLst>
                  <a:gs pos="25000">
                    <a:srgbClr val="007830"/>
                  </a:gs>
                  <a:gs pos="69000">
                    <a:srgbClr val="A9D18E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83" name="Freeform: Shape 282">
                <a:extLst>
                  <a:ext uri="{FF2B5EF4-FFF2-40B4-BE49-F238E27FC236}">
                    <a16:creationId xmlns="" xmlns:a16="http://schemas.microsoft.com/office/drawing/2014/main" id="{C5F9F35F-D386-4AC1-A13E-5E5494541CA8}"/>
                  </a:ext>
                </a:extLst>
              </p:cNvPr>
              <p:cNvSpPr/>
              <p:nvPr/>
            </p:nvSpPr>
            <p:spPr>
              <a:xfrm rot="9900000">
                <a:off x="5489277" y="5622381"/>
                <a:ext cx="1191239" cy="397916"/>
              </a:xfrm>
              <a:custGeom>
                <a:avLst/>
                <a:gdLst>
                  <a:gd name="connsiteX0" fmla="*/ 0 w 1191239"/>
                  <a:gd name="connsiteY0" fmla="*/ 94996 h 397916"/>
                  <a:gd name="connsiteX1" fmla="*/ 0 w 1191239"/>
                  <a:gd name="connsiteY1" fmla="*/ 0 h 397916"/>
                  <a:gd name="connsiteX2" fmla="*/ 121207 w 1191239"/>
                  <a:gd name="connsiteY2" fmla="*/ 1246 h 397916"/>
                  <a:gd name="connsiteX3" fmla="*/ 622598 w 1191239"/>
                  <a:gd name="connsiteY3" fmla="*/ 82880 h 397916"/>
                  <a:gd name="connsiteX4" fmla="*/ 1097632 w 1191239"/>
                  <a:gd name="connsiteY4" fmla="*/ 262879 h 397916"/>
                  <a:gd name="connsiteX5" fmla="*/ 1191239 w 1191239"/>
                  <a:gd name="connsiteY5" fmla="*/ 315646 h 397916"/>
                  <a:gd name="connsiteX6" fmla="*/ 1143741 w 1191239"/>
                  <a:gd name="connsiteY6" fmla="*/ 397916 h 397916"/>
                  <a:gd name="connsiteX7" fmla="*/ 1055012 w 1191239"/>
                  <a:gd name="connsiteY7" fmla="*/ 347900 h 397916"/>
                  <a:gd name="connsiteX8" fmla="*/ 597988 w 1191239"/>
                  <a:gd name="connsiteY8" fmla="*/ 174726 h 397916"/>
                  <a:gd name="connsiteX9" fmla="*/ 115607 w 1191239"/>
                  <a:gd name="connsiteY9" fmla="*/ 96187 h 397916"/>
                  <a:gd name="connsiteX10" fmla="*/ 0 w 1191239"/>
                  <a:gd name="connsiteY10" fmla="*/ 94996 h 397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91239" h="397916">
                    <a:moveTo>
                      <a:pt x="0" y="94996"/>
                    </a:moveTo>
                    <a:lnTo>
                      <a:pt x="0" y="0"/>
                    </a:lnTo>
                    <a:lnTo>
                      <a:pt x="121207" y="1246"/>
                    </a:lnTo>
                    <a:cubicBezTo>
                      <a:pt x="287544" y="11254"/>
                      <a:pt x="455361" y="38069"/>
                      <a:pt x="622598" y="82880"/>
                    </a:cubicBezTo>
                    <a:cubicBezTo>
                      <a:pt x="789835" y="127691"/>
                      <a:pt x="948576" y="188377"/>
                      <a:pt x="1097632" y="262879"/>
                    </a:cubicBezTo>
                    <a:lnTo>
                      <a:pt x="1191239" y="315646"/>
                    </a:lnTo>
                    <a:lnTo>
                      <a:pt x="1143741" y="397916"/>
                    </a:lnTo>
                    <a:lnTo>
                      <a:pt x="1055012" y="347900"/>
                    </a:lnTo>
                    <a:cubicBezTo>
                      <a:pt x="911607" y="276222"/>
                      <a:pt x="758884" y="217838"/>
                      <a:pt x="597988" y="174726"/>
                    </a:cubicBezTo>
                    <a:cubicBezTo>
                      <a:pt x="437092" y="131614"/>
                      <a:pt x="275638" y="105815"/>
                      <a:pt x="115607" y="96187"/>
                    </a:cubicBezTo>
                    <a:lnTo>
                      <a:pt x="0" y="94996"/>
                    </a:lnTo>
                    <a:close/>
                  </a:path>
                </a:pathLst>
              </a:custGeom>
              <a:gradFill>
                <a:gsLst>
                  <a:gs pos="25000">
                    <a:srgbClr val="00D200"/>
                  </a:gs>
                  <a:gs pos="69000">
                    <a:srgbClr val="B8FFB8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90" name="Oval 389">
                <a:extLst>
                  <a:ext uri="{FF2B5EF4-FFF2-40B4-BE49-F238E27FC236}">
                    <a16:creationId xmlns="" xmlns:a16="http://schemas.microsoft.com/office/drawing/2014/main" id="{2012E60E-98B0-4B31-AF04-2DE085D1D51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853018" y="698448"/>
                <a:ext cx="537972" cy="537972"/>
              </a:xfrm>
              <a:prstGeom prst="ellipse">
                <a:avLst/>
              </a:prstGeom>
              <a:gradFill>
                <a:gsLst>
                  <a:gs pos="53000">
                    <a:srgbClr val="DB97ED"/>
                  </a:gs>
                  <a:gs pos="47000">
                    <a:srgbClr val="B536DB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sp>
            <p:nvSpPr>
              <p:cNvPr id="391" name="Oval 390">
                <a:extLst>
                  <a:ext uri="{FF2B5EF4-FFF2-40B4-BE49-F238E27FC236}">
                    <a16:creationId xmlns="" xmlns:a16="http://schemas.microsoft.com/office/drawing/2014/main" id="{02C9F75D-367D-417F-8D55-4E145D05DD1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064673" y="1013632"/>
                <a:ext cx="537972" cy="537972"/>
              </a:xfrm>
              <a:prstGeom prst="ellipse">
                <a:avLst/>
              </a:prstGeom>
              <a:gradFill>
                <a:gsLst>
                  <a:gs pos="43000">
                    <a:srgbClr val="E03890"/>
                  </a:gs>
                  <a:gs pos="54000">
                    <a:srgbClr val="F2ACD1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Eras Demi ITC" panose="020B0805030504020804" pitchFamily="34" charset="0"/>
                </a:endParaRPr>
              </a:p>
            </p:txBody>
          </p:sp>
          <p:sp>
            <p:nvSpPr>
              <p:cNvPr id="392" name="Oval 391">
                <a:extLst>
                  <a:ext uri="{FF2B5EF4-FFF2-40B4-BE49-F238E27FC236}">
                    <a16:creationId xmlns="" xmlns:a16="http://schemas.microsoft.com/office/drawing/2014/main" id="{3DB48486-494D-410C-B6A7-5122CCBD574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982900" y="1896596"/>
                <a:ext cx="537972" cy="537972"/>
              </a:xfrm>
              <a:prstGeom prst="ellipse">
                <a:avLst/>
              </a:prstGeom>
              <a:gradFill>
                <a:gsLst>
                  <a:gs pos="32000">
                    <a:srgbClr val="DA0000"/>
                  </a:gs>
                  <a:gs pos="56000">
                    <a:srgbClr val="FF8F8F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  <p:sp>
            <p:nvSpPr>
              <p:cNvPr id="393" name="Oval 392">
                <a:extLst>
                  <a:ext uri="{FF2B5EF4-FFF2-40B4-BE49-F238E27FC236}">
                    <a16:creationId xmlns="" xmlns:a16="http://schemas.microsoft.com/office/drawing/2014/main" id="{7733DB7E-756C-4ABF-AD14-DD2CD1DCD7E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280279" y="3149705"/>
                <a:ext cx="537972" cy="537972"/>
              </a:xfrm>
              <a:prstGeom prst="ellipse">
                <a:avLst/>
              </a:prstGeom>
              <a:gradFill>
                <a:gsLst>
                  <a:gs pos="40000">
                    <a:srgbClr val="FF6600"/>
                  </a:gs>
                  <a:gs pos="52000">
                    <a:srgbClr val="FFB989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  <p:sp>
            <p:nvSpPr>
              <p:cNvPr id="394" name="Oval 393">
                <a:extLst>
                  <a:ext uri="{FF2B5EF4-FFF2-40B4-BE49-F238E27FC236}">
                    <a16:creationId xmlns="" xmlns:a16="http://schemas.microsoft.com/office/drawing/2014/main" id="{2CAE1A57-F879-412B-92FD-02EE088D334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983021" y="4387177"/>
                <a:ext cx="537972" cy="537972"/>
              </a:xfrm>
              <a:prstGeom prst="ellipse">
                <a:avLst/>
              </a:prstGeom>
              <a:gradFill>
                <a:gsLst>
                  <a:gs pos="45000">
                    <a:srgbClr val="E9A701"/>
                  </a:gs>
                  <a:gs pos="55000">
                    <a:srgbClr val="FFE8A7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  <p:sp>
            <p:nvSpPr>
              <p:cNvPr id="395" name="Oval 394">
                <a:extLst>
                  <a:ext uri="{FF2B5EF4-FFF2-40B4-BE49-F238E27FC236}">
                    <a16:creationId xmlns="" xmlns:a16="http://schemas.microsoft.com/office/drawing/2014/main" id="{BA6ED49C-1A0A-4161-8EBA-77CBA1D6B91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064673" y="5294147"/>
                <a:ext cx="537972" cy="537972"/>
              </a:xfrm>
              <a:prstGeom prst="ellipse">
                <a:avLst/>
              </a:prstGeom>
              <a:gradFill>
                <a:gsLst>
                  <a:gs pos="54000">
                    <a:srgbClr val="E8FE16"/>
                  </a:gs>
                  <a:gs pos="41000">
                    <a:srgbClr val="C8DD01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  <p:sp>
            <p:nvSpPr>
              <p:cNvPr id="396" name="Oval 395">
                <a:extLst>
                  <a:ext uri="{FF2B5EF4-FFF2-40B4-BE49-F238E27FC236}">
                    <a16:creationId xmlns="" xmlns:a16="http://schemas.microsoft.com/office/drawing/2014/main" id="{9AA11B26-E122-4BCB-BE9B-688F768CF94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853018" y="5629704"/>
                <a:ext cx="537972" cy="537972"/>
              </a:xfrm>
              <a:prstGeom prst="ellipse">
                <a:avLst/>
              </a:prstGeom>
              <a:gradFill>
                <a:gsLst>
                  <a:gs pos="45000">
                    <a:srgbClr val="00D200"/>
                  </a:gs>
                  <a:gs pos="50000">
                    <a:srgbClr val="71FF71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  <p:sp>
            <p:nvSpPr>
              <p:cNvPr id="397" name="Oval 396">
                <a:extLst>
                  <a:ext uri="{FF2B5EF4-FFF2-40B4-BE49-F238E27FC236}">
                    <a16:creationId xmlns="" xmlns:a16="http://schemas.microsoft.com/office/drawing/2014/main" id="{9A8BC99A-1307-4355-A3C9-D2C6CED6EEB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588346" y="5298709"/>
                <a:ext cx="537972" cy="537972"/>
              </a:xfrm>
              <a:prstGeom prst="ellipse">
                <a:avLst/>
              </a:prstGeom>
              <a:gradFill>
                <a:gsLst>
                  <a:gs pos="45000">
                    <a:srgbClr val="007830"/>
                  </a:gs>
                  <a:gs pos="54000">
                    <a:schemeClr val="accent6">
                      <a:lumMod val="60000"/>
                      <a:lumOff val="40000"/>
                    </a:schemeClr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  <p:sp>
            <p:nvSpPr>
              <p:cNvPr id="398" name="Oval 397">
                <a:extLst>
                  <a:ext uri="{FF2B5EF4-FFF2-40B4-BE49-F238E27FC236}">
                    <a16:creationId xmlns="" xmlns:a16="http://schemas.microsoft.com/office/drawing/2014/main" id="{04E165E7-D1D1-46E7-95BD-93C65F48BEC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656095" y="4402814"/>
                <a:ext cx="537972" cy="537972"/>
              </a:xfrm>
              <a:prstGeom prst="ellipse">
                <a:avLst/>
              </a:prstGeom>
              <a:gradFill>
                <a:gsLst>
                  <a:gs pos="48000">
                    <a:srgbClr val="00A479"/>
                  </a:gs>
                  <a:gs pos="54000">
                    <a:srgbClr val="00DAA1">
                      <a:lumMod val="95000"/>
                      <a:lumOff val="5000"/>
                    </a:srgbClr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  <p:sp>
            <p:nvSpPr>
              <p:cNvPr id="399" name="Oval 398">
                <a:extLst>
                  <a:ext uri="{FF2B5EF4-FFF2-40B4-BE49-F238E27FC236}">
                    <a16:creationId xmlns="" xmlns:a16="http://schemas.microsoft.com/office/drawing/2014/main" id="{71B5172D-D7CC-458B-A73A-59567D5C0DB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345737" y="3160014"/>
                <a:ext cx="537972" cy="537972"/>
              </a:xfrm>
              <a:prstGeom prst="ellipse">
                <a:avLst/>
              </a:prstGeom>
              <a:gradFill>
                <a:gsLst>
                  <a:gs pos="48000">
                    <a:srgbClr val="00DECE">
                      <a:lumMod val="90000"/>
                    </a:srgbClr>
                  </a:gs>
                  <a:gs pos="52000">
                    <a:srgbClr val="89FFF7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otham" panose="02000504050000020004" pitchFamily="2" charset="0"/>
                </a:endParaRPr>
              </a:p>
            </p:txBody>
          </p:sp>
          <p:sp>
            <p:nvSpPr>
              <p:cNvPr id="400" name="Oval 399">
                <a:extLst>
                  <a:ext uri="{FF2B5EF4-FFF2-40B4-BE49-F238E27FC236}">
                    <a16:creationId xmlns="" xmlns:a16="http://schemas.microsoft.com/office/drawing/2014/main" id="{8096D892-A908-4E08-B0A2-FD99374103C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656095" y="1896596"/>
                <a:ext cx="537972" cy="537972"/>
              </a:xfrm>
              <a:prstGeom prst="ellipse">
                <a:avLst/>
              </a:prstGeom>
              <a:gradFill>
                <a:gsLst>
                  <a:gs pos="46000">
                    <a:srgbClr val="019EFF"/>
                  </a:gs>
                  <a:gs pos="50000">
                    <a:srgbClr val="85D3FF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 dirty="0">
                  <a:latin typeface="Eras Demi ITC" panose="020B0805030504020804" pitchFamily="34" charset="0"/>
                </a:endParaRPr>
              </a:p>
            </p:txBody>
          </p:sp>
          <p:sp>
            <p:nvSpPr>
              <p:cNvPr id="401" name="Oval 400">
                <a:extLst>
                  <a:ext uri="{FF2B5EF4-FFF2-40B4-BE49-F238E27FC236}">
                    <a16:creationId xmlns="" xmlns:a16="http://schemas.microsoft.com/office/drawing/2014/main" id="{39AA67B2-FD8B-49E7-9388-41429F013C2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598080" y="1067313"/>
                <a:ext cx="537972" cy="537972"/>
              </a:xfrm>
              <a:prstGeom prst="ellipse">
                <a:avLst/>
              </a:prstGeom>
              <a:gradFill>
                <a:gsLst>
                  <a:gs pos="44000">
                    <a:srgbClr val="3E36E3"/>
                  </a:gs>
                  <a:gs pos="50000">
                    <a:srgbClr val="A5A1F5"/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Eras Demi ITC" panose="020B0805030504020804" pitchFamily="34" charset="0"/>
                </a:endParaRPr>
              </a:p>
            </p:txBody>
          </p:sp>
          <p:sp>
            <p:nvSpPr>
              <p:cNvPr id="422" name="Target2">
                <a:extLst>
                  <a:ext uri="{FF2B5EF4-FFF2-40B4-BE49-F238E27FC236}">
                    <a16:creationId xmlns="" xmlns:a16="http://schemas.microsoft.com/office/drawing/2014/main" id="{FF3313B4-2027-4770-9BE3-669FAFDF64DD}"/>
                  </a:ext>
                </a:extLst>
              </p:cNvPr>
              <p:cNvSpPr>
                <a:spLocks noChangeAspect="1" noEditPoint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8280914" y="3270417"/>
                <a:ext cx="426042" cy="310106"/>
              </a:xfrm>
              <a:custGeom>
                <a:avLst/>
                <a:gdLst>
                  <a:gd name="T0" fmla="*/ 297 w 980"/>
                  <a:gd name="T1" fmla="*/ 214 h 713"/>
                  <a:gd name="T2" fmla="*/ 620 w 980"/>
                  <a:gd name="T3" fmla="*/ 51 h 713"/>
                  <a:gd name="T4" fmla="*/ 620 w 980"/>
                  <a:gd name="T5" fmla="*/ 663 h 713"/>
                  <a:gd name="T6" fmla="*/ 329 w 980"/>
                  <a:gd name="T7" fmla="*/ 260 h 713"/>
                  <a:gd name="T8" fmla="*/ 267 w 980"/>
                  <a:gd name="T9" fmla="*/ 356 h 713"/>
                  <a:gd name="T10" fmla="*/ 980 w 980"/>
                  <a:gd name="T11" fmla="*/ 356 h 713"/>
                  <a:gd name="T12" fmla="*/ 22 w 980"/>
                  <a:gd name="T13" fmla="*/ 76 h 713"/>
                  <a:gd name="T14" fmla="*/ 0 w 980"/>
                  <a:gd name="T15" fmla="*/ 142 h 713"/>
                  <a:gd name="T16" fmla="*/ 94 w 980"/>
                  <a:gd name="T17" fmla="*/ 164 h 713"/>
                  <a:gd name="T18" fmla="*/ 593 w 980"/>
                  <a:gd name="T19" fmla="*/ 357 h 713"/>
                  <a:gd name="T20" fmla="*/ 587 w 980"/>
                  <a:gd name="T21" fmla="*/ 394 h 713"/>
                  <a:gd name="T22" fmla="*/ 617 w 980"/>
                  <a:gd name="T23" fmla="*/ 291 h 713"/>
                  <a:gd name="T24" fmla="*/ 603 w 980"/>
                  <a:gd name="T25" fmla="*/ 334 h 713"/>
                  <a:gd name="T26" fmla="*/ 107 w 980"/>
                  <a:gd name="T27" fmla="*/ 142 h 713"/>
                  <a:gd name="T28" fmla="*/ 22 w 980"/>
                  <a:gd name="T29" fmla="*/ 76 h 713"/>
                  <a:gd name="T30" fmla="*/ 379 w 980"/>
                  <a:gd name="T31" fmla="*/ 246 h 713"/>
                  <a:gd name="T32" fmla="*/ 620 w 980"/>
                  <a:gd name="T33" fmla="*/ 144 h 713"/>
                  <a:gd name="T34" fmla="*/ 620 w 980"/>
                  <a:gd name="T35" fmla="*/ 569 h 713"/>
                  <a:gd name="T36" fmla="*/ 417 w 980"/>
                  <a:gd name="T37" fmla="*/ 291 h 713"/>
                  <a:gd name="T38" fmla="*/ 355 w 980"/>
                  <a:gd name="T39" fmla="*/ 356 h 713"/>
                  <a:gd name="T40" fmla="*/ 885 w 980"/>
                  <a:gd name="T41" fmla="*/ 356 h 713"/>
                  <a:gd name="T42" fmla="*/ 620 w 980"/>
                  <a:gd name="T43" fmla="*/ 181 h 713"/>
                  <a:gd name="T44" fmla="*/ 512 w 980"/>
                  <a:gd name="T45" fmla="*/ 298 h 713"/>
                  <a:gd name="T46" fmla="*/ 743 w 980"/>
                  <a:gd name="T47" fmla="*/ 356 h 713"/>
                  <a:gd name="T48" fmla="*/ 497 w 980"/>
                  <a:gd name="T49" fmla="*/ 356 h 713"/>
                  <a:gd name="T50" fmla="*/ 452 w 980"/>
                  <a:gd name="T51" fmla="*/ 305 h 713"/>
                  <a:gd name="T52" fmla="*/ 620 w 980"/>
                  <a:gd name="T53" fmla="*/ 532 h 713"/>
                  <a:gd name="T54" fmla="*/ 620 w 980"/>
                  <a:gd name="T55" fmla="*/ 181 h 713"/>
                  <a:gd name="T56" fmla="*/ 548 w 980"/>
                  <a:gd name="T57" fmla="*/ 310 h 713"/>
                  <a:gd name="T58" fmla="*/ 615 w 980"/>
                  <a:gd name="T59" fmla="*/ 287 h 713"/>
                  <a:gd name="T60" fmla="*/ 618 w 980"/>
                  <a:gd name="T61" fmla="*/ 286 h 713"/>
                  <a:gd name="T62" fmla="*/ 663 w 980"/>
                  <a:gd name="T63" fmla="*/ 357 h 713"/>
                  <a:gd name="T64" fmla="*/ 585 w 980"/>
                  <a:gd name="T65" fmla="*/ 399 h 713"/>
                  <a:gd name="T66" fmla="*/ 583 w 980"/>
                  <a:gd name="T67" fmla="*/ 397 h 713"/>
                  <a:gd name="T68" fmla="*/ 537 w 980"/>
                  <a:gd name="T69" fmla="*/ 338 h 713"/>
                  <a:gd name="T70" fmla="*/ 620 w 980"/>
                  <a:gd name="T71" fmla="*/ 442 h 713"/>
                  <a:gd name="T72" fmla="*/ 620 w 980"/>
                  <a:gd name="T73" fmla="*/ 271 h 7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980" h="713">
                    <a:moveTo>
                      <a:pt x="624" y="0"/>
                    </a:moveTo>
                    <a:cubicBezTo>
                      <a:pt x="478" y="0"/>
                      <a:pt x="352" y="88"/>
                      <a:pt x="297" y="214"/>
                    </a:cubicBezTo>
                    <a:lnTo>
                      <a:pt x="341" y="231"/>
                    </a:lnTo>
                    <a:cubicBezTo>
                      <a:pt x="389" y="125"/>
                      <a:pt x="496" y="51"/>
                      <a:pt x="620" y="51"/>
                    </a:cubicBezTo>
                    <a:cubicBezTo>
                      <a:pt x="788" y="51"/>
                      <a:pt x="926" y="188"/>
                      <a:pt x="926" y="356"/>
                    </a:cubicBezTo>
                    <a:cubicBezTo>
                      <a:pt x="926" y="525"/>
                      <a:pt x="788" y="663"/>
                      <a:pt x="620" y="663"/>
                    </a:cubicBezTo>
                    <a:cubicBezTo>
                      <a:pt x="451" y="663"/>
                      <a:pt x="314" y="525"/>
                      <a:pt x="314" y="356"/>
                    </a:cubicBezTo>
                    <a:cubicBezTo>
                      <a:pt x="314" y="322"/>
                      <a:pt x="318" y="291"/>
                      <a:pt x="329" y="260"/>
                    </a:cubicBezTo>
                    <a:lnTo>
                      <a:pt x="286" y="243"/>
                    </a:lnTo>
                    <a:cubicBezTo>
                      <a:pt x="273" y="279"/>
                      <a:pt x="267" y="316"/>
                      <a:pt x="267" y="356"/>
                    </a:cubicBezTo>
                    <a:cubicBezTo>
                      <a:pt x="267" y="553"/>
                      <a:pt x="427" y="713"/>
                      <a:pt x="624" y="713"/>
                    </a:cubicBezTo>
                    <a:cubicBezTo>
                      <a:pt x="821" y="713"/>
                      <a:pt x="980" y="553"/>
                      <a:pt x="980" y="356"/>
                    </a:cubicBezTo>
                    <a:cubicBezTo>
                      <a:pt x="980" y="160"/>
                      <a:pt x="821" y="0"/>
                      <a:pt x="624" y="0"/>
                    </a:cubicBezTo>
                    <a:close/>
                    <a:moveTo>
                      <a:pt x="22" y="76"/>
                    </a:moveTo>
                    <a:cubicBezTo>
                      <a:pt x="56" y="114"/>
                      <a:pt x="60" y="134"/>
                      <a:pt x="60" y="134"/>
                    </a:cubicBezTo>
                    <a:cubicBezTo>
                      <a:pt x="60" y="134"/>
                      <a:pt x="48" y="140"/>
                      <a:pt x="0" y="142"/>
                    </a:cubicBezTo>
                    <a:cubicBezTo>
                      <a:pt x="0" y="142"/>
                      <a:pt x="50" y="172"/>
                      <a:pt x="77" y="172"/>
                    </a:cubicBezTo>
                    <a:cubicBezTo>
                      <a:pt x="83" y="172"/>
                      <a:pt x="94" y="164"/>
                      <a:pt x="94" y="164"/>
                    </a:cubicBezTo>
                    <a:lnTo>
                      <a:pt x="591" y="356"/>
                    </a:lnTo>
                    <a:lnTo>
                      <a:pt x="593" y="357"/>
                    </a:lnTo>
                    <a:lnTo>
                      <a:pt x="598" y="359"/>
                    </a:lnTo>
                    <a:lnTo>
                      <a:pt x="587" y="394"/>
                    </a:lnTo>
                    <a:lnTo>
                      <a:pt x="658" y="356"/>
                    </a:lnTo>
                    <a:lnTo>
                      <a:pt x="617" y="291"/>
                    </a:lnTo>
                    <a:lnTo>
                      <a:pt x="603" y="333"/>
                    </a:lnTo>
                    <a:lnTo>
                      <a:pt x="603" y="334"/>
                    </a:lnTo>
                    <a:cubicBezTo>
                      <a:pt x="601" y="334"/>
                      <a:pt x="602" y="334"/>
                      <a:pt x="602" y="334"/>
                    </a:cubicBezTo>
                    <a:lnTo>
                      <a:pt x="107" y="142"/>
                    </a:lnTo>
                    <a:cubicBezTo>
                      <a:pt x="107" y="142"/>
                      <a:pt x="101" y="121"/>
                      <a:pt x="93" y="113"/>
                    </a:cubicBezTo>
                    <a:cubicBezTo>
                      <a:pt x="75" y="94"/>
                      <a:pt x="22" y="76"/>
                      <a:pt x="22" y="76"/>
                    </a:cubicBezTo>
                    <a:close/>
                    <a:moveTo>
                      <a:pt x="620" y="92"/>
                    </a:moveTo>
                    <a:cubicBezTo>
                      <a:pt x="513" y="92"/>
                      <a:pt x="421" y="155"/>
                      <a:pt x="379" y="246"/>
                    </a:cubicBezTo>
                    <a:lnTo>
                      <a:pt x="428" y="265"/>
                    </a:lnTo>
                    <a:cubicBezTo>
                      <a:pt x="462" y="194"/>
                      <a:pt x="535" y="144"/>
                      <a:pt x="620" y="144"/>
                    </a:cubicBezTo>
                    <a:cubicBezTo>
                      <a:pt x="737" y="144"/>
                      <a:pt x="832" y="239"/>
                      <a:pt x="832" y="356"/>
                    </a:cubicBezTo>
                    <a:cubicBezTo>
                      <a:pt x="832" y="474"/>
                      <a:pt x="737" y="569"/>
                      <a:pt x="620" y="569"/>
                    </a:cubicBezTo>
                    <a:cubicBezTo>
                      <a:pt x="503" y="569"/>
                      <a:pt x="407" y="474"/>
                      <a:pt x="407" y="356"/>
                    </a:cubicBezTo>
                    <a:cubicBezTo>
                      <a:pt x="407" y="333"/>
                      <a:pt x="410" y="312"/>
                      <a:pt x="417" y="291"/>
                    </a:cubicBezTo>
                    <a:lnTo>
                      <a:pt x="369" y="273"/>
                    </a:lnTo>
                    <a:cubicBezTo>
                      <a:pt x="360" y="300"/>
                      <a:pt x="355" y="327"/>
                      <a:pt x="355" y="356"/>
                    </a:cubicBezTo>
                    <a:cubicBezTo>
                      <a:pt x="355" y="503"/>
                      <a:pt x="474" y="621"/>
                      <a:pt x="620" y="621"/>
                    </a:cubicBezTo>
                    <a:cubicBezTo>
                      <a:pt x="766" y="621"/>
                      <a:pt x="885" y="503"/>
                      <a:pt x="885" y="356"/>
                    </a:cubicBezTo>
                    <a:cubicBezTo>
                      <a:pt x="885" y="210"/>
                      <a:pt x="766" y="92"/>
                      <a:pt x="620" y="92"/>
                    </a:cubicBezTo>
                    <a:close/>
                    <a:moveTo>
                      <a:pt x="620" y="181"/>
                    </a:moveTo>
                    <a:cubicBezTo>
                      <a:pt x="551" y="181"/>
                      <a:pt x="492" y="221"/>
                      <a:pt x="463" y="278"/>
                    </a:cubicBezTo>
                    <a:lnTo>
                      <a:pt x="512" y="298"/>
                    </a:lnTo>
                    <a:cubicBezTo>
                      <a:pt x="533" y="260"/>
                      <a:pt x="573" y="234"/>
                      <a:pt x="620" y="234"/>
                    </a:cubicBezTo>
                    <a:cubicBezTo>
                      <a:pt x="687" y="234"/>
                      <a:pt x="743" y="289"/>
                      <a:pt x="743" y="356"/>
                    </a:cubicBezTo>
                    <a:cubicBezTo>
                      <a:pt x="743" y="424"/>
                      <a:pt x="687" y="479"/>
                      <a:pt x="620" y="479"/>
                    </a:cubicBezTo>
                    <a:cubicBezTo>
                      <a:pt x="552" y="479"/>
                      <a:pt x="497" y="424"/>
                      <a:pt x="497" y="356"/>
                    </a:cubicBezTo>
                    <a:cubicBezTo>
                      <a:pt x="497" y="345"/>
                      <a:pt x="498" y="335"/>
                      <a:pt x="501" y="324"/>
                    </a:cubicBezTo>
                    <a:lnTo>
                      <a:pt x="452" y="305"/>
                    </a:lnTo>
                    <a:cubicBezTo>
                      <a:pt x="447" y="322"/>
                      <a:pt x="444" y="338"/>
                      <a:pt x="444" y="356"/>
                    </a:cubicBezTo>
                    <a:cubicBezTo>
                      <a:pt x="444" y="453"/>
                      <a:pt x="523" y="532"/>
                      <a:pt x="620" y="532"/>
                    </a:cubicBezTo>
                    <a:cubicBezTo>
                      <a:pt x="716" y="532"/>
                      <a:pt x="795" y="453"/>
                      <a:pt x="795" y="356"/>
                    </a:cubicBezTo>
                    <a:cubicBezTo>
                      <a:pt x="795" y="260"/>
                      <a:pt x="716" y="181"/>
                      <a:pt x="620" y="181"/>
                    </a:cubicBezTo>
                    <a:close/>
                    <a:moveTo>
                      <a:pt x="620" y="271"/>
                    </a:moveTo>
                    <a:cubicBezTo>
                      <a:pt x="590" y="271"/>
                      <a:pt x="564" y="287"/>
                      <a:pt x="548" y="310"/>
                    </a:cubicBezTo>
                    <a:lnTo>
                      <a:pt x="600" y="330"/>
                    </a:lnTo>
                    <a:lnTo>
                      <a:pt x="615" y="287"/>
                    </a:lnTo>
                    <a:lnTo>
                      <a:pt x="616" y="283"/>
                    </a:lnTo>
                    <a:lnTo>
                      <a:pt x="618" y="286"/>
                    </a:lnTo>
                    <a:lnTo>
                      <a:pt x="662" y="356"/>
                    </a:lnTo>
                    <a:lnTo>
                      <a:pt x="663" y="357"/>
                    </a:lnTo>
                    <a:lnTo>
                      <a:pt x="662" y="358"/>
                    </a:lnTo>
                    <a:lnTo>
                      <a:pt x="585" y="399"/>
                    </a:lnTo>
                    <a:lnTo>
                      <a:pt x="581" y="401"/>
                    </a:lnTo>
                    <a:lnTo>
                      <a:pt x="583" y="397"/>
                    </a:lnTo>
                    <a:lnTo>
                      <a:pt x="594" y="360"/>
                    </a:lnTo>
                    <a:lnTo>
                      <a:pt x="537" y="338"/>
                    </a:lnTo>
                    <a:cubicBezTo>
                      <a:pt x="535" y="344"/>
                      <a:pt x="535" y="350"/>
                      <a:pt x="535" y="356"/>
                    </a:cubicBezTo>
                    <a:cubicBezTo>
                      <a:pt x="535" y="403"/>
                      <a:pt x="573" y="442"/>
                      <a:pt x="620" y="442"/>
                    </a:cubicBezTo>
                    <a:cubicBezTo>
                      <a:pt x="667" y="442"/>
                      <a:pt x="705" y="403"/>
                      <a:pt x="705" y="356"/>
                    </a:cubicBezTo>
                    <a:cubicBezTo>
                      <a:pt x="705" y="309"/>
                      <a:pt x="667" y="271"/>
                      <a:pt x="620" y="271"/>
                    </a:cubicBez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423" name="Group 422">
                <a:extLst>
                  <a:ext uri="{FF2B5EF4-FFF2-40B4-BE49-F238E27FC236}">
                    <a16:creationId xmlns="" xmlns:a16="http://schemas.microsoft.com/office/drawing/2014/main" id="{76ABC789-6761-49B4-8671-3B4C27DB5806}"/>
                  </a:ext>
                </a:extLst>
              </p:cNvPr>
              <p:cNvGrpSpPr/>
              <p:nvPr/>
            </p:nvGrpSpPr>
            <p:grpSpPr>
              <a:xfrm>
                <a:off x="3777047" y="2009210"/>
                <a:ext cx="280995" cy="333188"/>
                <a:chOff x="1631140" y="902248"/>
                <a:chExt cx="2555268" cy="2728283"/>
              </a:xfrm>
            </p:grpSpPr>
            <p:sp>
              <p:nvSpPr>
                <p:cNvPr id="424" name="Freeform 47">
                  <a:extLst>
                    <a:ext uri="{FF2B5EF4-FFF2-40B4-BE49-F238E27FC236}">
                      <a16:creationId xmlns="" xmlns:a16="http://schemas.microsoft.com/office/drawing/2014/main" id="{6A56F4E6-F024-4A1B-90BB-112710FE605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1140" y="902248"/>
                  <a:ext cx="2555268" cy="2728283"/>
                </a:xfrm>
                <a:custGeom>
                  <a:avLst/>
                  <a:gdLst>
                    <a:gd name="T0" fmla="*/ 199 w 398"/>
                    <a:gd name="T1" fmla="*/ 425 h 425"/>
                    <a:gd name="T2" fmla="*/ 18 w 398"/>
                    <a:gd name="T3" fmla="*/ 85 h 425"/>
                    <a:gd name="T4" fmla="*/ 199 w 398"/>
                    <a:gd name="T5" fmla="*/ 0 h 425"/>
                    <a:gd name="T6" fmla="*/ 380 w 398"/>
                    <a:gd name="T7" fmla="*/ 85 h 425"/>
                    <a:gd name="T8" fmla="*/ 199 w 398"/>
                    <a:gd name="T9" fmla="*/ 425 h 4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98" h="425">
                      <a:moveTo>
                        <a:pt x="199" y="425"/>
                      </a:moveTo>
                      <a:cubicBezTo>
                        <a:pt x="0" y="347"/>
                        <a:pt x="18" y="85"/>
                        <a:pt x="18" y="85"/>
                      </a:cubicBezTo>
                      <a:cubicBezTo>
                        <a:pt x="139" y="107"/>
                        <a:pt x="199" y="0"/>
                        <a:pt x="199" y="0"/>
                      </a:cubicBezTo>
                      <a:cubicBezTo>
                        <a:pt x="199" y="0"/>
                        <a:pt x="260" y="107"/>
                        <a:pt x="380" y="85"/>
                      </a:cubicBezTo>
                      <a:cubicBezTo>
                        <a:pt x="380" y="85"/>
                        <a:pt x="398" y="347"/>
                        <a:pt x="199" y="42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25" name="Freeform 49">
                  <a:extLst>
                    <a:ext uri="{FF2B5EF4-FFF2-40B4-BE49-F238E27FC236}">
                      <a16:creationId xmlns="" xmlns:a16="http://schemas.microsoft.com/office/drawing/2014/main" id="{70BABF6F-28DC-43B8-9976-45E5317869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64972" y="1700059"/>
                  <a:ext cx="1197782" cy="958226"/>
                </a:xfrm>
                <a:custGeom>
                  <a:avLst/>
                  <a:gdLst>
                    <a:gd name="T0" fmla="*/ 0 w 187"/>
                    <a:gd name="T1" fmla="*/ 88 h 150"/>
                    <a:gd name="T2" fmla="*/ 62 w 187"/>
                    <a:gd name="T3" fmla="*/ 150 h 150"/>
                    <a:gd name="T4" fmla="*/ 187 w 187"/>
                    <a:gd name="T5" fmla="*/ 25 h 150"/>
                    <a:gd name="T6" fmla="*/ 162 w 187"/>
                    <a:gd name="T7" fmla="*/ 0 h 150"/>
                    <a:gd name="T8" fmla="*/ 62 w 187"/>
                    <a:gd name="T9" fmla="*/ 100 h 150"/>
                    <a:gd name="T10" fmla="*/ 25 w 187"/>
                    <a:gd name="T11" fmla="*/ 63 h 150"/>
                    <a:gd name="T12" fmla="*/ 0 w 187"/>
                    <a:gd name="T13" fmla="*/ 88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87" h="150">
                      <a:moveTo>
                        <a:pt x="0" y="88"/>
                      </a:moveTo>
                      <a:lnTo>
                        <a:pt x="62" y="150"/>
                      </a:lnTo>
                      <a:lnTo>
                        <a:pt x="187" y="25"/>
                      </a:lnTo>
                      <a:lnTo>
                        <a:pt x="162" y="0"/>
                      </a:lnTo>
                      <a:lnTo>
                        <a:pt x="62" y="100"/>
                      </a:lnTo>
                      <a:lnTo>
                        <a:pt x="25" y="63"/>
                      </a:lnTo>
                      <a:lnTo>
                        <a:pt x="0" y="88"/>
                      </a:lnTo>
                      <a:close/>
                    </a:path>
                  </a:pathLst>
                </a:custGeom>
                <a:solidFill>
                  <a:srgbClr val="019EFF"/>
                </a:solidFill>
                <a:ln>
                  <a:noFill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426" name="Thinking">
                <a:extLst>
                  <a:ext uri="{FF2B5EF4-FFF2-40B4-BE49-F238E27FC236}">
                    <a16:creationId xmlns="" xmlns:a16="http://schemas.microsoft.com/office/drawing/2014/main" id="{23E4A730-C850-4ADE-8261-2B75381CAF9F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2"/>
                </p:custDataLst>
              </p:nvPr>
            </p:nvGrpSpPr>
            <p:grpSpPr bwMode="auto">
              <a:xfrm>
                <a:off x="4715700" y="1177606"/>
                <a:ext cx="272359" cy="324661"/>
                <a:chOff x="6971" y="3273"/>
                <a:chExt cx="703" cy="838"/>
              </a:xfrm>
              <a:solidFill>
                <a:schemeClr val="bg1"/>
              </a:solidFill>
            </p:grpSpPr>
            <p:sp>
              <p:nvSpPr>
                <p:cNvPr id="427" name="Oval 608">
                  <a:extLst>
                    <a:ext uri="{FF2B5EF4-FFF2-40B4-BE49-F238E27FC236}">
                      <a16:creationId xmlns="" xmlns:a16="http://schemas.microsoft.com/office/drawing/2014/main" id="{518C050D-8248-4DB8-96C5-132D479D96F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25" y="3478"/>
                  <a:ext cx="67" cy="67"/>
                </a:xfrm>
                <a:prstGeom prst="ellipse">
                  <a:avLst/>
                </a:pr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28" name="Oval 609">
                  <a:extLst>
                    <a:ext uri="{FF2B5EF4-FFF2-40B4-BE49-F238E27FC236}">
                      <a16:creationId xmlns="" xmlns:a16="http://schemas.microsoft.com/office/drawing/2014/main" id="{129C5711-9DC9-44FE-9D98-E9460807E49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450" y="3720"/>
                  <a:ext cx="67" cy="67"/>
                </a:xfrm>
                <a:prstGeom prst="ellipse">
                  <a:avLst/>
                </a:pr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29" name="Oval 610">
                  <a:extLst>
                    <a:ext uri="{FF2B5EF4-FFF2-40B4-BE49-F238E27FC236}">
                      <a16:creationId xmlns="" xmlns:a16="http://schemas.microsoft.com/office/drawing/2014/main" id="{3BD9E0FE-C0AD-4556-907A-30C92E20F5D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7172" y="3442"/>
                  <a:ext cx="67" cy="67"/>
                </a:xfrm>
                <a:prstGeom prst="ellipse">
                  <a:avLst/>
                </a:pr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30" name="Freeform 611">
                  <a:extLst>
                    <a:ext uri="{FF2B5EF4-FFF2-40B4-BE49-F238E27FC236}">
                      <a16:creationId xmlns="" xmlns:a16="http://schemas.microsoft.com/office/drawing/2014/main" id="{53943EC6-56E8-4C92-9F7A-25DB6DCE92C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971" y="3273"/>
                  <a:ext cx="703" cy="838"/>
                </a:xfrm>
                <a:custGeom>
                  <a:avLst/>
                  <a:gdLst>
                    <a:gd name="T0" fmla="*/ 102 w 1051"/>
                    <a:gd name="T1" fmla="*/ 483 h 1250"/>
                    <a:gd name="T2" fmla="*/ 38 w 1051"/>
                    <a:gd name="T3" fmla="*/ 785 h 1250"/>
                    <a:gd name="T4" fmla="*/ 289 w 1051"/>
                    <a:gd name="T5" fmla="*/ 1105 h 1250"/>
                    <a:gd name="T6" fmla="*/ 869 w 1051"/>
                    <a:gd name="T7" fmla="*/ 1250 h 1250"/>
                    <a:gd name="T8" fmla="*/ 576 w 1051"/>
                    <a:gd name="T9" fmla="*/ 0 h 1250"/>
                    <a:gd name="T10" fmla="*/ 218 w 1051"/>
                    <a:gd name="T11" fmla="*/ 471 h 1250"/>
                    <a:gd name="T12" fmla="*/ 918 w 1051"/>
                    <a:gd name="T13" fmla="*/ 505 h 1250"/>
                    <a:gd name="T14" fmla="*/ 772 w 1051"/>
                    <a:gd name="T15" fmla="*/ 526 h 1250"/>
                    <a:gd name="T16" fmla="*/ 790 w 1051"/>
                    <a:gd name="T17" fmla="*/ 627 h 1250"/>
                    <a:gd name="T18" fmla="*/ 843 w 1051"/>
                    <a:gd name="T19" fmla="*/ 618 h 1250"/>
                    <a:gd name="T20" fmla="*/ 855 w 1051"/>
                    <a:gd name="T21" fmla="*/ 694 h 1250"/>
                    <a:gd name="T22" fmla="*/ 853 w 1051"/>
                    <a:gd name="T23" fmla="*/ 738 h 1250"/>
                    <a:gd name="T24" fmla="*/ 862 w 1051"/>
                    <a:gd name="T25" fmla="*/ 791 h 1250"/>
                    <a:gd name="T26" fmla="*/ 786 w 1051"/>
                    <a:gd name="T27" fmla="*/ 803 h 1250"/>
                    <a:gd name="T28" fmla="*/ 742 w 1051"/>
                    <a:gd name="T29" fmla="*/ 801 h 1250"/>
                    <a:gd name="T30" fmla="*/ 689 w 1051"/>
                    <a:gd name="T31" fmla="*/ 810 h 1250"/>
                    <a:gd name="T32" fmla="*/ 677 w 1051"/>
                    <a:gd name="T33" fmla="*/ 734 h 1250"/>
                    <a:gd name="T34" fmla="*/ 679 w 1051"/>
                    <a:gd name="T35" fmla="*/ 690 h 1250"/>
                    <a:gd name="T36" fmla="*/ 670 w 1051"/>
                    <a:gd name="T37" fmla="*/ 637 h 1250"/>
                    <a:gd name="T38" fmla="*/ 746 w 1051"/>
                    <a:gd name="T39" fmla="*/ 625 h 1250"/>
                    <a:gd name="T40" fmla="*/ 678 w 1051"/>
                    <a:gd name="T41" fmla="*/ 524 h 1250"/>
                    <a:gd name="T42" fmla="*/ 584 w 1051"/>
                    <a:gd name="T43" fmla="*/ 549 h 1250"/>
                    <a:gd name="T44" fmla="*/ 563 w 1051"/>
                    <a:gd name="T45" fmla="*/ 403 h 1250"/>
                    <a:gd name="T46" fmla="*/ 458 w 1051"/>
                    <a:gd name="T47" fmla="*/ 340 h 1250"/>
                    <a:gd name="T48" fmla="*/ 475 w 1051"/>
                    <a:gd name="T49" fmla="*/ 400 h 1250"/>
                    <a:gd name="T50" fmla="*/ 381 w 1051"/>
                    <a:gd name="T51" fmla="*/ 414 h 1250"/>
                    <a:gd name="T52" fmla="*/ 319 w 1051"/>
                    <a:gd name="T53" fmla="*/ 412 h 1250"/>
                    <a:gd name="T54" fmla="*/ 258 w 1051"/>
                    <a:gd name="T55" fmla="*/ 429 h 1250"/>
                    <a:gd name="T56" fmla="*/ 245 w 1051"/>
                    <a:gd name="T57" fmla="*/ 334 h 1250"/>
                    <a:gd name="T58" fmla="*/ 246 w 1051"/>
                    <a:gd name="T59" fmla="*/ 272 h 1250"/>
                    <a:gd name="T60" fmla="*/ 229 w 1051"/>
                    <a:gd name="T61" fmla="*/ 212 h 1250"/>
                    <a:gd name="T62" fmla="*/ 324 w 1051"/>
                    <a:gd name="T63" fmla="*/ 198 h 1250"/>
                    <a:gd name="T64" fmla="*/ 386 w 1051"/>
                    <a:gd name="T65" fmla="*/ 200 h 1250"/>
                    <a:gd name="T66" fmla="*/ 447 w 1051"/>
                    <a:gd name="T67" fmla="*/ 183 h 1250"/>
                    <a:gd name="T68" fmla="*/ 460 w 1051"/>
                    <a:gd name="T69" fmla="*/ 278 h 1250"/>
                    <a:gd name="T70" fmla="*/ 566 w 1051"/>
                    <a:gd name="T71" fmla="*/ 309 h 1250"/>
                    <a:gd name="T72" fmla="*/ 541 w 1051"/>
                    <a:gd name="T73" fmla="*/ 215 h 1250"/>
                    <a:gd name="T74" fmla="*/ 687 w 1051"/>
                    <a:gd name="T75" fmla="*/ 194 h 1250"/>
                    <a:gd name="T76" fmla="*/ 781 w 1051"/>
                    <a:gd name="T77" fmla="*/ 197 h 1250"/>
                    <a:gd name="T78" fmla="*/ 875 w 1051"/>
                    <a:gd name="T79" fmla="*/ 171 h 1250"/>
                    <a:gd name="T80" fmla="*/ 896 w 1051"/>
                    <a:gd name="T81" fmla="*/ 317 h 1250"/>
                    <a:gd name="T82" fmla="*/ 893 w 1051"/>
                    <a:gd name="T83" fmla="*/ 412 h 1250"/>
                    <a:gd name="T84" fmla="*/ 918 w 1051"/>
                    <a:gd name="T85" fmla="*/ 505 h 12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051" h="1250">
                      <a:moveTo>
                        <a:pt x="576" y="0"/>
                      </a:moveTo>
                      <a:cubicBezTo>
                        <a:pt x="361" y="0"/>
                        <a:pt x="163" y="162"/>
                        <a:pt x="122" y="340"/>
                      </a:cubicBezTo>
                      <a:cubicBezTo>
                        <a:pt x="112" y="379"/>
                        <a:pt x="102" y="483"/>
                        <a:pt x="102" y="483"/>
                      </a:cubicBezTo>
                      <a:lnTo>
                        <a:pt x="3" y="732"/>
                      </a:lnTo>
                      <a:cubicBezTo>
                        <a:pt x="1" y="737"/>
                        <a:pt x="0" y="742"/>
                        <a:pt x="0" y="747"/>
                      </a:cubicBezTo>
                      <a:cubicBezTo>
                        <a:pt x="0" y="768"/>
                        <a:pt x="17" y="785"/>
                        <a:pt x="38" y="785"/>
                      </a:cubicBezTo>
                      <a:lnTo>
                        <a:pt x="102" y="785"/>
                      </a:lnTo>
                      <a:lnTo>
                        <a:pt x="102" y="918"/>
                      </a:lnTo>
                      <a:cubicBezTo>
                        <a:pt x="102" y="1021"/>
                        <a:pt x="186" y="1105"/>
                        <a:pt x="289" y="1105"/>
                      </a:cubicBezTo>
                      <a:lnTo>
                        <a:pt x="363" y="1105"/>
                      </a:lnTo>
                      <a:lnTo>
                        <a:pt x="363" y="1250"/>
                      </a:lnTo>
                      <a:lnTo>
                        <a:pt x="869" y="1250"/>
                      </a:lnTo>
                      <a:lnTo>
                        <a:pt x="869" y="847"/>
                      </a:lnTo>
                      <a:cubicBezTo>
                        <a:pt x="980" y="761"/>
                        <a:pt x="1051" y="626"/>
                        <a:pt x="1051" y="474"/>
                      </a:cubicBezTo>
                      <a:cubicBezTo>
                        <a:pt x="1051" y="212"/>
                        <a:pt x="838" y="0"/>
                        <a:pt x="576" y="0"/>
                      </a:cubicBezTo>
                      <a:close/>
                      <a:moveTo>
                        <a:pt x="218" y="577"/>
                      </a:moveTo>
                      <a:cubicBezTo>
                        <a:pt x="189" y="577"/>
                        <a:pt x="166" y="553"/>
                        <a:pt x="166" y="524"/>
                      </a:cubicBezTo>
                      <a:cubicBezTo>
                        <a:pt x="166" y="495"/>
                        <a:pt x="189" y="471"/>
                        <a:pt x="218" y="471"/>
                      </a:cubicBezTo>
                      <a:cubicBezTo>
                        <a:pt x="248" y="471"/>
                        <a:pt x="272" y="495"/>
                        <a:pt x="272" y="524"/>
                      </a:cubicBezTo>
                      <a:cubicBezTo>
                        <a:pt x="272" y="553"/>
                        <a:pt x="248" y="577"/>
                        <a:pt x="218" y="577"/>
                      </a:cubicBezTo>
                      <a:close/>
                      <a:moveTo>
                        <a:pt x="918" y="505"/>
                      </a:moveTo>
                      <a:lnTo>
                        <a:pt x="869" y="555"/>
                      </a:lnTo>
                      <a:lnTo>
                        <a:pt x="809" y="512"/>
                      </a:lnTo>
                      <a:cubicBezTo>
                        <a:pt x="797" y="518"/>
                        <a:pt x="785" y="523"/>
                        <a:pt x="772" y="526"/>
                      </a:cubicBezTo>
                      <a:lnTo>
                        <a:pt x="761" y="592"/>
                      </a:lnTo>
                      <a:lnTo>
                        <a:pt x="784" y="592"/>
                      </a:lnTo>
                      <a:lnTo>
                        <a:pt x="790" y="627"/>
                      </a:lnTo>
                      <a:cubicBezTo>
                        <a:pt x="793" y="627"/>
                        <a:pt x="795" y="628"/>
                        <a:pt x="798" y="629"/>
                      </a:cubicBezTo>
                      <a:cubicBezTo>
                        <a:pt x="804" y="631"/>
                        <a:pt x="810" y="634"/>
                        <a:pt x="815" y="637"/>
                      </a:cubicBezTo>
                      <a:lnTo>
                        <a:pt x="843" y="618"/>
                      </a:lnTo>
                      <a:lnTo>
                        <a:pt x="865" y="641"/>
                      </a:lnTo>
                      <a:lnTo>
                        <a:pt x="845" y="670"/>
                      </a:lnTo>
                      <a:cubicBezTo>
                        <a:pt x="849" y="677"/>
                        <a:pt x="853" y="686"/>
                        <a:pt x="855" y="694"/>
                      </a:cubicBezTo>
                      <a:lnTo>
                        <a:pt x="888" y="700"/>
                      </a:lnTo>
                      <a:lnTo>
                        <a:pt x="888" y="732"/>
                      </a:lnTo>
                      <a:lnTo>
                        <a:pt x="853" y="738"/>
                      </a:lnTo>
                      <a:cubicBezTo>
                        <a:pt x="853" y="741"/>
                        <a:pt x="852" y="743"/>
                        <a:pt x="851" y="746"/>
                      </a:cubicBezTo>
                      <a:cubicBezTo>
                        <a:pt x="849" y="752"/>
                        <a:pt x="846" y="758"/>
                        <a:pt x="843" y="763"/>
                      </a:cubicBezTo>
                      <a:lnTo>
                        <a:pt x="862" y="791"/>
                      </a:lnTo>
                      <a:lnTo>
                        <a:pt x="840" y="813"/>
                      </a:lnTo>
                      <a:lnTo>
                        <a:pt x="811" y="793"/>
                      </a:lnTo>
                      <a:cubicBezTo>
                        <a:pt x="803" y="797"/>
                        <a:pt x="795" y="801"/>
                        <a:pt x="786" y="803"/>
                      </a:cubicBezTo>
                      <a:lnTo>
                        <a:pt x="780" y="836"/>
                      </a:lnTo>
                      <a:lnTo>
                        <a:pt x="748" y="836"/>
                      </a:lnTo>
                      <a:lnTo>
                        <a:pt x="742" y="801"/>
                      </a:lnTo>
                      <a:cubicBezTo>
                        <a:pt x="739" y="801"/>
                        <a:pt x="737" y="800"/>
                        <a:pt x="734" y="799"/>
                      </a:cubicBezTo>
                      <a:cubicBezTo>
                        <a:pt x="728" y="797"/>
                        <a:pt x="723" y="794"/>
                        <a:pt x="717" y="791"/>
                      </a:cubicBezTo>
                      <a:lnTo>
                        <a:pt x="689" y="810"/>
                      </a:lnTo>
                      <a:lnTo>
                        <a:pt x="667" y="788"/>
                      </a:lnTo>
                      <a:lnTo>
                        <a:pt x="687" y="759"/>
                      </a:lnTo>
                      <a:cubicBezTo>
                        <a:pt x="683" y="751"/>
                        <a:pt x="679" y="743"/>
                        <a:pt x="677" y="734"/>
                      </a:cubicBezTo>
                      <a:lnTo>
                        <a:pt x="644" y="728"/>
                      </a:lnTo>
                      <a:lnTo>
                        <a:pt x="644" y="696"/>
                      </a:lnTo>
                      <a:lnTo>
                        <a:pt x="679" y="690"/>
                      </a:lnTo>
                      <a:cubicBezTo>
                        <a:pt x="680" y="687"/>
                        <a:pt x="680" y="685"/>
                        <a:pt x="681" y="682"/>
                      </a:cubicBezTo>
                      <a:cubicBezTo>
                        <a:pt x="683" y="676"/>
                        <a:pt x="686" y="671"/>
                        <a:pt x="689" y="665"/>
                      </a:cubicBezTo>
                      <a:lnTo>
                        <a:pt x="670" y="637"/>
                      </a:lnTo>
                      <a:lnTo>
                        <a:pt x="693" y="615"/>
                      </a:lnTo>
                      <a:lnTo>
                        <a:pt x="722" y="635"/>
                      </a:lnTo>
                      <a:cubicBezTo>
                        <a:pt x="729" y="631"/>
                        <a:pt x="738" y="627"/>
                        <a:pt x="746" y="625"/>
                      </a:cubicBezTo>
                      <a:lnTo>
                        <a:pt x="751" y="596"/>
                      </a:lnTo>
                      <a:lnTo>
                        <a:pt x="691" y="596"/>
                      </a:lnTo>
                      <a:lnTo>
                        <a:pt x="678" y="524"/>
                      </a:lnTo>
                      <a:cubicBezTo>
                        <a:pt x="675" y="523"/>
                        <a:pt x="673" y="522"/>
                        <a:pt x="670" y="521"/>
                      </a:cubicBezTo>
                      <a:cubicBezTo>
                        <a:pt x="660" y="518"/>
                        <a:pt x="651" y="513"/>
                        <a:pt x="642" y="508"/>
                      </a:cubicBezTo>
                      <a:lnTo>
                        <a:pt x="584" y="549"/>
                      </a:lnTo>
                      <a:lnTo>
                        <a:pt x="535" y="500"/>
                      </a:lnTo>
                      <a:lnTo>
                        <a:pt x="578" y="440"/>
                      </a:lnTo>
                      <a:cubicBezTo>
                        <a:pt x="571" y="428"/>
                        <a:pt x="567" y="416"/>
                        <a:pt x="563" y="403"/>
                      </a:cubicBezTo>
                      <a:lnTo>
                        <a:pt x="494" y="391"/>
                      </a:lnTo>
                      <a:lnTo>
                        <a:pt x="494" y="334"/>
                      </a:lnTo>
                      <a:lnTo>
                        <a:pt x="458" y="340"/>
                      </a:lnTo>
                      <a:cubicBezTo>
                        <a:pt x="458" y="341"/>
                        <a:pt x="458" y="343"/>
                        <a:pt x="457" y="345"/>
                      </a:cubicBezTo>
                      <a:cubicBezTo>
                        <a:pt x="455" y="351"/>
                        <a:pt x="452" y="357"/>
                        <a:pt x="449" y="362"/>
                      </a:cubicBezTo>
                      <a:lnTo>
                        <a:pt x="475" y="400"/>
                      </a:lnTo>
                      <a:lnTo>
                        <a:pt x="443" y="433"/>
                      </a:lnTo>
                      <a:lnTo>
                        <a:pt x="403" y="405"/>
                      </a:lnTo>
                      <a:cubicBezTo>
                        <a:pt x="396" y="409"/>
                        <a:pt x="389" y="412"/>
                        <a:pt x="381" y="414"/>
                      </a:cubicBezTo>
                      <a:lnTo>
                        <a:pt x="373" y="460"/>
                      </a:lnTo>
                      <a:lnTo>
                        <a:pt x="327" y="460"/>
                      </a:lnTo>
                      <a:lnTo>
                        <a:pt x="319" y="412"/>
                      </a:lnTo>
                      <a:cubicBezTo>
                        <a:pt x="317" y="411"/>
                        <a:pt x="315" y="411"/>
                        <a:pt x="314" y="411"/>
                      </a:cubicBezTo>
                      <a:cubicBezTo>
                        <a:pt x="308" y="408"/>
                        <a:pt x="302" y="405"/>
                        <a:pt x="296" y="402"/>
                      </a:cubicBezTo>
                      <a:lnTo>
                        <a:pt x="258" y="429"/>
                      </a:lnTo>
                      <a:lnTo>
                        <a:pt x="226" y="397"/>
                      </a:lnTo>
                      <a:lnTo>
                        <a:pt x="254" y="357"/>
                      </a:lnTo>
                      <a:cubicBezTo>
                        <a:pt x="250" y="350"/>
                        <a:pt x="247" y="342"/>
                        <a:pt x="245" y="334"/>
                      </a:cubicBezTo>
                      <a:lnTo>
                        <a:pt x="199" y="326"/>
                      </a:lnTo>
                      <a:lnTo>
                        <a:pt x="199" y="280"/>
                      </a:lnTo>
                      <a:lnTo>
                        <a:pt x="246" y="272"/>
                      </a:lnTo>
                      <a:cubicBezTo>
                        <a:pt x="247" y="271"/>
                        <a:pt x="247" y="269"/>
                        <a:pt x="248" y="267"/>
                      </a:cubicBezTo>
                      <a:cubicBezTo>
                        <a:pt x="250" y="261"/>
                        <a:pt x="253" y="255"/>
                        <a:pt x="256" y="250"/>
                      </a:cubicBezTo>
                      <a:lnTo>
                        <a:pt x="229" y="212"/>
                      </a:lnTo>
                      <a:lnTo>
                        <a:pt x="262" y="179"/>
                      </a:lnTo>
                      <a:lnTo>
                        <a:pt x="301" y="207"/>
                      </a:lnTo>
                      <a:cubicBezTo>
                        <a:pt x="309" y="203"/>
                        <a:pt x="316" y="200"/>
                        <a:pt x="324" y="198"/>
                      </a:cubicBezTo>
                      <a:lnTo>
                        <a:pt x="332" y="152"/>
                      </a:lnTo>
                      <a:lnTo>
                        <a:pt x="378" y="152"/>
                      </a:lnTo>
                      <a:lnTo>
                        <a:pt x="386" y="200"/>
                      </a:lnTo>
                      <a:cubicBezTo>
                        <a:pt x="388" y="201"/>
                        <a:pt x="390" y="201"/>
                        <a:pt x="391" y="201"/>
                      </a:cubicBezTo>
                      <a:cubicBezTo>
                        <a:pt x="397" y="204"/>
                        <a:pt x="403" y="207"/>
                        <a:pt x="409" y="210"/>
                      </a:cubicBezTo>
                      <a:lnTo>
                        <a:pt x="447" y="183"/>
                      </a:lnTo>
                      <a:lnTo>
                        <a:pt x="479" y="215"/>
                      </a:lnTo>
                      <a:lnTo>
                        <a:pt x="451" y="255"/>
                      </a:lnTo>
                      <a:cubicBezTo>
                        <a:pt x="455" y="262"/>
                        <a:pt x="458" y="270"/>
                        <a:pt x="460" y="278"/>
                      </a:cubicBezTo>
                      <a:lnTo>
                        <a:pt x="506" y="286"/>
                      </a:lnTo>
                      <a:lnTo>
                        <a:pt x="506" y="319"/>
                      </a:lnTo>
                      <a:lnTo>
                        <a:pt x="566" y="309"/>
                      </a:lnTo>
                      <a:cubicBezTo>
                        <a:pt x="567" y="306"/>
                        <a:pt x="568" y="303"/>
                        <a:pt x="569" y="301"/>
                      </a:cubicBezTo>
                      <a:cubicBezTo>
                        <a:pt x="572" y="291"/>
                        <a:pt x="577" y="282"/>
                        <a:pt x="582" y="273"/>
                      </a:cubicBezTo>
                      <a:lnTo>
                        <a:pt x="541" y="215"/>
                      </a:lnTo>
                      <a:lnTo>
                        <a:pt x="590" y="166"/>
                      </a:lnTo>
                      <a:lnTo>
                        <a:pt x="650" y="208"/>
                      </a:lnTo>
                      <a:cubicBezTo>
                        <a:pt x="662" y="202"/>
                        <a:pt x="674" y="197"/>
                        <a:pt x="687" y="194"/>
                      </a:cubicBezTo>
                      <a:lnTo>
                        <a:pt x="699" y="124"/>
                      </a:lnTo>
                      <a:lnTo>
                        <a:pt x="769" y="124"/>
                      </a:lnTo>
                      <a:lnTo>
                        <a:pt x="781" y="197"/>
                      </a:lnTo>
                      <a:cubicBezTo>
                        <a:pt x="784" y="197"/>
                        <a:pt x="787" y="198"/>
                        <a:pt x="789" y="199"/>
                      </a:cubicBezTo>
                      <a:cubicBezTo>
                        <a:pt x="799" y="203"/>
                        <a:pt x="808" y="207"/>
                        <a:pt x="817" y="212"/>
                      </a:cubicBezTo>
                      <a:lnTo>
                        <a:pt x="875" y="171"/>
                      </a:lnTo>
                      <a:lnTo>
                        <a:pt x="924" y="221"/>
                      </a:lnTo>
                      <a:lnTo>
                        <a:pt x="882" y="281"/>
                      </a:lnTo>
                      <a:cubicBezTo>
                        <a:pt x="888" y="292"/>
                        <a:pt x="893" y="305"/>
                        <a:pt x="896" y="317"/>
                      </a:cubicBezTo>
                      <a:lnTo>
                        <a:pt x="966" y="329"/>
                      </a:lnTo>
                      <a:lnTo>
                        <a:pt x="966" y="399"/>
                      </a:lnTo>
                      <a:lnTo>
                        <a:pt x="893" y="412"/>
                      </a:lnTo>
                      <a:cubicBezTo>
                        <a:pt x="892" y="414"/>
                        <a:pt x="892" y="417"/>
                        <a:pt x="891" y="420"/>
                      </a:cubicBezTo>
                      <a:cubicBezTo>
                        <a:pt x="887" y="430"/>
                        <a:pt x="882" y="439"/>
                        <a:pt x="877" y="447"/>
                      </a:cubicBezTo>
                      <a:lnTo>
                        <a:pt x="918" y="505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431" name="Money_bag2">
                <a:extLst>
                  <a:ext uri="{FF2B5EF4-FFF2-40B4-BE49-F238E27FC236}">
                    <a16:creationId xmlns="" xmlns:a16="http://schemas.microsoft.com/office/drawing/2014/main" id="{5BA6ED51-AD74-415B-A443-055D5D645097}"/>
                  </a:ext>
                </a:extLst>
              </p:cNvPr>
              <p:cNvSpPr>
                <a:spLocks noChangeAspect="1" noEditPoint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5989710" y="5717140"/>
                <a:ext cx="232955" cy="310106"/>
              </a:xfrm>
              <a:custGeom>
                <a:avLst/>
                <a:gdLst>
                  <a:gd name="T0" fmla="*/ 2068 w 4850"/>
                  <a:gd name="T1" fmla="*/ 3435 h 6444"/>
                  <a:gd name="T2" fmla="*/ 2111 w 4850"/>
                  <a:gd name="T3" fmla="*/ 3711 h 6444"/>
                  <a:gd name="T4" fmla="*/ 2329 w 4850"/>
                  <a:gd name="T5" fmla="*/ 3288 h 6444"/>
                  <a:gd name="T6" fmla="*/ 2133 w 4850"/>
                  <a:gd name="T7" fmla="*/ 3352 h 6444"/>
                  <a:gd name="T8" fmla="*/ 2515 w 4850"/>
                  <a:gd name="T9" fmla="*/ 4305 h 6444"/>
                  <a:gd name="T10" fmla="*/ 2633 w 4850"/>
                  <a:gd name="T11" fmla="*/ 4885 h 6444"/>
                  <a:gd name="T12" fmla="*/ 2825 w 4850"/>
                  <a:gd name="T13" fmla="*/ 4733 h 6444"/>
                  <a:gd name="T14" fmla="*/ 2779 w 4850"/>
                  <a:gd name="T15" fmla="*/ 4417 h 6444"/>
                  <a:gd name="T16" fmla="*/ 3416 w 4850"/>
                  <a:gd name="T17" fmla="*/ 2021 h 6444"/>
                  <a:gd name="T18" fmla="*/ 3232 w 4850"/>
                  <a:gd name="T19" fmla="*/ 1774 h 6444"/>
                  <a:gd name="T20" fmla="*/ 3208 w 4850"/>
                  <a:gd name="T21" fmla="*/ 1256 h 6444"/>
                  <a:gd name="T22" fmla="*/ 3021 w 4850"/>
                  <a:gd name="T23" fmla="*/ 233 h 6444"/>
                  <a:gd name="T24" fmla="*/ 1776 w 4850"/>
                  <a:gd name="T25" fmla="*/ 0 h 6444"/>
                  <a:gd name="T26" fmla="*/ 1313 w 4850"/>
                  <a:gd name="T27" fmla="*/ 469 h 6444"/>
                  <a:gd name="T28" fmla="*/ 1641 w 4850"/>
                  <a:gd name="T29" fmla="*/ 1256 h 6444"/>
                  <a:gd name="T30" fmla="*/ 0 w 4850"/>
                  <a:gd name="T31" fmla="*/ 5105 h 6444"/>
                  <a:gd name="T32" fmla="*/ 4850 w 4850"/>
                  <a:gd name="T33" fmla="*/ 5105 h 6444"/>
                  <a:gd name="T34" fmla="*/ 2099 w 4850"/>
                  <a:gd name="T35" fmla="*/ 1363 h 6444"/>
                  <a:gd name="T36" fmla="*/ 2761 w 4850"/>
                  <a:gd name="T37" fmla="*/ 1781 h 6444"/>
                  <a:gd name="T38" fmla="*/ 2099 w 4850"/>
                  <a:gd name="T39" fmla="*/ 1363 h 6444"/>
                  <a:gd name="T40" fmla="*/ 3145 w 4850"/>
                  <a:gd name="T41" fmla="*/ 5003 h 6444"/>
                  <a:gd name="T42" fmla="*/ 2515 w 4850"/>
                  <a:gd name="T43" fmla="*/ 5278 h 6444"/>
                  <a:gd name="T44" fmla="*/ 2329 w 4850"/>
                  <a:gd name="T45" fmla="*/ 5547 h 6444"/>
                  <a:gd name="T46" fmla="*/ 1776 w 4850"/>
                  <a:gd name="T47" fmla="*/ 5060 h 6444"/>
                  <a:gd name="T48" fmla="*/ 1990 w 4850"/>
                  <a:gd name="T49" fmla="*/ 4494 h 6444"/>
                  <a:gd name="T50" fmla="*/ 2329 w 4850"/>
                  <a:gd name="T51" fmla="*/ 4911 h 6444"/>
                  <a:gd name="T52" fmla="*/ 2286 w 4850"/>
                  <a:gd name="T53" fmla="*/ 4237 h 6444"/>
                  <a:gd name="T54" fmla="*/ 1997 w 4850"/>
                  <a:gd name="T55" fmla="*/ 4149 h 6444"/>
                  <a:gd name="T56" fmla="*/ 1649 w 4850"/>
                  <a:gd name="T57" fmla="*/ 3858 h 6444"/>
                  <a:gd name="T58" fmla="*/ 1657 w 4850"/>
                  <a:gd name="T59" fmla="*/ 3310 h 6444"/>
                  <a:gd name="T60" fmla="*/ 2054 w 4850"/>
                  <a:gd name="T61" fmla="*/ 2973 h 6444"/>
                  <a:gd name="T62" fmla="*/ 2329 w 4850"/>
                  <a:gd name="T63" fmla="*/ 2675 h 6444"/>
                  <a:gd name="T64" fmla="*/ 2515 w 4850"/>
                  <a:gd name="T65" fmla="*/ 2918 h 6444"/>
                  <a:gd name="T66" fmla="*/ 3002 w 4850"/>
                  <a:gd name="T67" fmla="*/ 3106 h 6444"/>
                  <a:gd name="T68" fmla="*/ 3226 w 4850"/>
                  <a:gd name="T69" fmla="*/ 3591 h 6444"/>
                  <a:gd name="T70" fmla="*/ 2698 w 4850"/>
                  <a:gd name="T71" fmla="*/ 3376 h 6444"/>
                  <a:gd name="T72" fmla="*/ 2515 w 4850"/>
                  <a:gd name="T73" fmla="*/ 3847 h 6444"/>
                  <a:gd name="T74" fmla="*/ 2676 w 4850"/>
                  <a:gd name="T75" fmla="*/ 3888 h 6444"/>
                  <a:gd name="T76" fmla="*/ 3223 w 4850"/>
                  <a:gd name="T77" fmla="*/ 4239 h 6444"/>
                  <a:gd name="T78" fmla="*/ 3305 w 4850"/>
                  <a:gd name="T79" fmla="*/ 4621 h 6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850" h="6444">
                    <a:moveTo>
                      <a:pt x="2133" y="3352"/>
                    </a:moveTo>
                    <a:cubicBezTo>
                      <a:pt x="2105" y="3374"/>
                      <a:pt x="2084" y="3402"/>
                      <a:pt x="2068" y="3435"/>
                    </a:cubicBezTo>
                    <a:cubicBezTo>
                      <a:pt x="2052" y="3467"/>
                      <a:pt x="2044" y="3506"/>
                      <a:pt x="2044" y="3550"/>
                    </a:cubicBezTo>
                    <a:cubicBezTo>
                      <a:pt x="2044" y="3619"/>
                      <a:pt x="2066" y="3673"/>
                      <a:pt x="2111" y="3711"/>
                    </a:cubicBezTo>
                    <a:cubicBezTo>
                      <a:pt x="2155" y="3749"/>
                      <a:pt x="2228" y="3780"/>
                      <a:pt x="2329" y="3803"/>
                    </a:cubicBezTo>
                    <a:lnTo>
                      <a:pt x="2329" y="3288"/>
                    </a:lnTo>
                    <a:cubicBezTo>
                      <a:pt x="2293" y="3288"/>
                      <a:pt x="2258" y="3293"/>
                      <a:pt x="2224" y="3303"/>
                    </a:cubicBezTo>
                    <a:cubicBezTo>
                      <a:pt x="2191" y="3314"/>
                      <a:pt x="2160" y="3330"/>
                      <a:pt x="2133" y="3352"/>
                    </a:cubicBezTo>
                    <a:close/>
                    <a:moveTo>
                      <a:pt x="2779" y="4417"/>
                    </a:moveTo>
                    <a:cubicBezTo>
                      <a:pt x="2727" y="4376"/>
                      <a:pt x="2639" y="4339"/>
                      <a:pt x="2515" y="4305"/>
                    </a:cubicBezTo>
                    <a:lnTo>
                      <a:pt x="2515" y="4911"/>
                    </a:lnTo>
                    <a:cubicBezTo>
                      <a:pt x="2553" y="4908"/>
                      <a:pt x="2593" y="4898"/>
                      <a:pt x="2633" y="4885"/>
                    </a:cubicBezTo>
                    <a:cubicBezTo>
                      <a:pt x="2675" y="4871"/>
                      <a:pt x="2711" y="4852"/>
                      <a:pt x="2744" y="4826"/>
                    </a:cubicBezTo>
                    <a:cubicBezTo>
                      <a:pt x="2777" y="4801"/>
                      <a:pt x="2803" y="4770"/>
                      <a:pt x="2825" y="4733"/>
                    </a:cubicBezTo>
                    <a:cubicBezTo>
                      <a:pt x="2846" y="4696"/>
                      <a:pt x="2856" y="4653"/>
                      <a:pt x="2856" y="4602"/>
                    </a:cubicBezTo>
                    <a:cubicBezTo>
                      <a:pt x="2856" y="4520"/>
                      <a:pt x="2830" y="4458"/>
                      <a:pt x="2779" y="4417"/>
                    </a:cubicBezTo>
                    <a:close/>
                    <a:moveTo>
                      <a:pt x="3415" y="2020"/>
                    </a:moveTo>
                    <a:lnTo>
                      <a:pt x="3416" y="2021"/>
                    </a:lnTo>
                    <a:cubicBezTo>
                      <a:pt x="3414" y="2019"/>
                      <a:pt x="3413" y="2018"/>
                      <a:pt x="3412" y="2016"/>
                    </a:cubicBezTo>
                    <a:cubicBezTo>
                      <a:pt x="3351" y="1932"/>
                      <a:pt x="3291" y="1851"/>
                      <a:pt x="3232" y="1774"/>
                    </a:cubicBezTo>
                    <a:cubicBezTo>
                      <a:pt x="3154" y="1644"/>
                      <a:pt x="3113" y="1485"/>
                      <a:pt x="3208" y="1256"/>
                    </a:cubicBezTo>
                    <a:lnTo>
                      <a:pt x="3208" y="1256"/>
                    </a:lnTo>
                    <a:lnTo>
                      <a:pt x="3537" y="469"/>
                    </a:lnTo>
                    <a:lnTo>
                      <a:pt x="3021" y="233"/>
                    </a:lnTo>
                    <a:lnTo>
                      <a:pt x="3074" y="0"/>
                    </a:lnTo>
                    <a:lnTo>
                      <a:pt x="1776" y="0"/>
                    </a:lnTo>
                    <a:lnTo>
                      <a:pt x="1844" y="297"/>
                    </a:lnTo>
                    <a:lnTo>
                      <a:pt x="1313" y="469"/>
                    </a:lnTo>
                    <a:lnTo>
                      <a:pt x="1641" y="1256"/>
                    </a:lnTo>
                    <a:lnTo>
                      <a:pt x="1641" y="1256"/>
                    </a:lnTo>
                    <a:cubicBezTo>
                      <a:pt x="1804" y="1646"/>
                      <a:pt x="1571" y="1831"/>
                      <a:pt x="1434" y="2021"/>
                    </a:cubicBezTo>
                    <a:cubicBezTo>
                      <a:pt x="757" y="2957"/>
                      <a:pt x="0" y="4297"/>
                      <a:pt x="0" y="5105"/>
                    </a:cubicBezTo>
                    <a:cubicBezTo>
                      <a:pt x="0" y="6444"/>
                      <a:pt x="1040" y="6400"/>
                      <a:pt x="2425" y="6400"/>
                    </a:cubicBezTo>
                    <a:cubicBezTo>
                      <a:pt x="3810" y="6400"/>
                      <a:pt x="4850" y="6444"/>
                      <a:pt x="4850" y="5105"/>
                    </a:cubicBezTo>
                    <a:cubicBezTo>
                      <a:pt x="4850" y="4297"/>
                      <a:pt x="4092" y="2957"/>
                      <a:pt x="3415" y="2020"/>
                    </a:cubicBezTo>
                    <a:close/>
                    <a:moveTo>
                      <a:pt x="2099" y="1363"/>
                    </a:moveTo>
                    <a:lnTo>
                      <a:pt x="2761" y="1363"/>
                    </a:lnTo>
                    <a:lnTo>
                      <a:pt x="2761" y="1781"/>
                    </a:lnTo>
                    <a:lnTo>
                      <a:pt x="2099" y="1781"/>
                    </a:lnTo>
                    <a:lnTo>
                      <a:pt x="2099" y="1363"/>
                    </a:lnTo>
                    <a:close/>
                    <a:moveTo>
                      <a:pt x="3270" y="4796"/>
                    </a:moveTo>
                    <a:cubicBezTo>
                      <a:pt x="3247" y="4867"/>
                      <a:pt x="3205" y="4936"/>
                      <a:pt x="3145" y="5003"/>
                    </a:cubicBezTo>
                    <a:cubicBezTo>
                      <a:pt x="3085" y="5071"/>
                      <a:pt x="3005" y="5131"/>
                      <a:pt x="2904" y="5183"/>
                    </a:cubicBezTo>
                    <a:cubicBezTo>
                      <a:pt x="2802" y="5236"/>
                      <a:pt x="2673" y="5268"/>
                      <a:pt x="2515" y="5278"/>
                    </a:cubicBezTo>
                    <a:lnTo>
                      <a:pt x="2515" y="5547"/>
                    </a:lnTo>
                    <a:lnTo>
                      <a:pt x="2329" y="5547"/>
                    </a:lnTo>
                    <a:lnTo>
                      <a:pt x="2329" y="5278"/>
                    </a:lnTo>
                    <a:cubicBezTo>
                      <a:pt x="2093" y="5261"/>
                      <a:pt x="1908" y="5189"/>
                      <a:pt x="1776" y="5060"/>
                    </a:cubicBezTo>
                    <a:cubicBezTo>
                      <a:pt x="1643" y="4932"/>
                      <a:pt x="1566" y="4743"/>
                      <a:pt x="1545" y="4494"/>
                    </a:cubicBezTo>
                    <a:lnTo>
                      <a:pt x="1990" y="4494"/>
                    </a:lnTo>
                    <a:cubicBezTo>
                      <a:pt x="1989" y="4615"/>
                      <a:pt x="2020" y="4709"/>
                      <a:pt x="2085" y="4779"/>
                    </a:cubicBezTo>
                    <a:cubicBezTo>
                      <a:pt x="2151" y="4848"/>
                      <a:pt x="2232" y="4893"/>
                      <a:pt x="2329" y="4911"/>
                    </a:cubicBezTo>
                    <a:lnTo>
                      <a:pt x="2329" y="4251"/>
                    </a:lnTo>
                    <a:cubicBezTo>
                      <a:pt x="2318" y="4247"/>
                      <a:pt x="2304" y="4242"/>
                      <a:pt x="2286" y="4237"/>
                    </a:cubicBezTo>
                    <a:cubicBezTo>
                      <a:pt x="2268" y="4232"/>
                      <a:pt x="2248" y="4227"/>
                      <a:pt x="2228" y="4223"/>
                    </a:cubicBezTo>
                    <a:cubicBezTo>
                      <a:pt x="2150" y="4202"/>
                      <a:pt x="2073" y="4177"/>
                      <a:pt x="1997" y="4149"/>
                    </a:cubicBezTo>
                    <a:cubicBezTo>
                      <a:pt x="1921" y="4120"/>
                      <a:pt x="1853" y="4082"/>
                      <a:pt x="1793" y="4035"/>
                    </a:cubicBezTo>
                    <a:cubicBezTo>
                      <a:pt x="1733" y="3988"/>
                      <a:pt x="1685" y="3928"/>
                      <a:pt x="1649" y="3858"/>
                    </a:cubicBezTo>
                    <a:cubicBezTo>
                      <a:pt x="1613" y="3787"/>
                      <a:pt x="1596" y="3699"/>
                      <a:pt x="1596" y="3594"/>
                    </a:cubicBezTo>
                    <a:cubicBezTo>
                      <a:pt x="1596" y="3487"/>
                      <a:pt x="1616" y="3392"/>
                      <a:pt x="1657" y="3310"/>
                    </a:cubicBezTo>
                    <a:cubicBezTo>
                      <a:pt x="1698" y="3228"/>
                      <a:pt x="1752" y="3159"/>
                      <a:pt x="1820" y="3103"/>
                    </a:cubicBezTo>
                    <a:cubicBezTo>
                      <a:pt x="1887" y="3047"/>
                      <a:pt x="1965" y="3004"/>
                      <a:pt x="2054" y="2973"/>
                    </a:cubicBezTo>
                    <a:cubicBezTo>
                      <a:pt x="2142" y="2943"/>
                      <a:pt x="2234" y="2924"/>
                      <a:pt x="2329" y="2918"/>
                    </a:cubicBezTo>
                    <a:lnTo>
                      <a:pt x="2329" y="2675"/>
                    </a:lnTo>
                    <a:lnTo>
                      <a:pt x="2515" y="2675"/>
                    </a:lnTo>
                    <a:lnTo>
                      <a:pt x="2515" y="2918"/>
                    </a:lnTo>
                    <a:cubicBezTo>
                      <a:pt x="2610" y="2929"/>
                      <a:pt x="2699" y="2949"/>
                      <a:pt x="2782" y="2980"/>
                    </a:cubicBezTo>
                    <a:cubicBezTo>
                      <a:pt x="2865" y="3010"/>
                      <a:pt x="2938" y="3052"/>
                      <a:pt x="3002" y="3106"/>
                    </a:cubicBezTo>
                    <a:cubicBezTo>
                      <a:pt x="3065" y="3160"/>
                      <a:pt x="3117" y="3227"/>
                      <a:pt x="3156" y="3306"/>
                    </a:cubicBezTo>
                    <a:cubicBezTo>
                      <a:pt x="3196" y="3387"/>
                      <a:pt x="3220" y="3482"/>
                      <a:pt x="3226" y="3591"/>
                    </a:cubicBezTo>
                    <a:lnTo>
                      <a:pt x="2777" y="3591"/>
                    </a:lnTo>
                    <a:cubicBezTo>
                      <a:pt x="2775" y="3507"/>
                      <a:pt x="2749" y="3435"/>
                      <a:pt x="2698" y="3376"/>
                    </a:cubicBezTo>
                    <a:cubicBezTo>
                      <a:pt x="2647" y="3317"/>
                      <a:pt x="2587" y="3288"/>
                      <a:pt x="2515" y="3288"/>
                    </a:cubicBezTo>
                    <a:lnTo>
                      <a:pt x="2515" y="3847"/>
                    </a:lnTo>
                    <a:cubicBezTo>
                      <a:pt x="2540" y="3853"/>
                      <a:pt x="2566" y="3860"/>
                      <a:pt x="2593" y="3866"/>
                    </a:cubicBezTo>
                    <a:cubicBezTo>
                      <a:pt x="2619" y="3872"/>
                      <a:pt x="2647" y="3879"/>
                      <a:pt x="2676" y="3888"/>
                    </a:cubicBezTo>
                    <a:cubicBezTo>
                      <a:pt x="2832" y="3930"/>
                      <a:pt x="2952" y="3982"/>
                      <a:pt x="3036" y="4044"/>
                    </a:cubicBezTo>
                    <a:cubicBezTo>
                      <a:pt x="3120" y="4106"/>
                      <a:pt x="3183" y="4171"/>
                      <a:pt x="3223" y="4239"/>
                    </a:cubicBezTo>
                    <a:cubicBezTo>
                      <a:pt x="3263" y="4306"/>
                      <a:pt x="3286" y="4374"/>
                      <a:pt x="3294" y="4441"/>
                    </a:cubicBezTo>
                    <a:cubicBezTo>
                      <a:pt x="3301" y="4508"/>
                      <a:pt x="3305" y="4568"/>
                      <a:pt x="3305" y="4621"/>
                    </a:cubicBezTo>
                    <a:cubicBezTo>
                      <a:pt x="3305" y="4667"/>
                      <a:pt x="3293" y="4726"/>
                      <a:pt x="3270" y="4796"/>
                    </a:cubicBez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432" name="Idea2">
                <a:extLst>
                  <a:ext uri="{FF2B5EF4-FFF2-40B4-BE49-F238E27FC236}">
                    <a16:creationId xmlns="" xmlns:a16="http://schemas.microsoft.com/office/drawing/2014/main" id="{62B8C296-8EB0-4601-861B-D7AC469A2C8A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4"/>
                </p:custDataLst>
              </p:nvPr>
            </p:nvGrpSpPr>
            <p:grpSpPr>
              <a:xfrm>
                <a:off x="7201328" y="1102714"/>
                <a:ext cx="290151" cy="320748"/>
                <a:chOff x="2087986" y="1812758"/>
                <a:chExt cx="316995" cy="350423"/>
              </a:xfrm>
              <a:solidFill>
                <a:schemeClr val="bg1"/>
              </a:solidFill>
            </p:grpSpPr>
            <p:sp>
              <p:nvSpPr>
                <p:cNvPr id="433" name="Crowdsourcing2">
                  <a:extLst>
                    <a:ext uri="{FF2B5EF4-FFF2-40B4-BE49-F238E27FC236}">
                      <a16:creationId xmlns="" xmlns:a16="http://schemas.microsoft.com/office/drawing/2014/main" id="{194F42B5-2CC9-4032-B7B6-261FA6619A7A}"/>
                    </a:ext>
                  </a:extLst>
                </p:cNvPr>
                <p:cNvSpPr>
                  <a:spLocks/>
                </p:cNvSpPr>
                <p:nvPr>
                  <p:custDataLst>
                    <p:tags r:id="rId35"/>
                  </p:custDataLst>
                </p:nvPr>
              </p:nvSpPr>
              <p:spPr bwMode="auto">
                <a:xfrm>
                  <a:off x="2212479" y="2095171"/>
                  <a:ext cx="68010" cy="23054"/>
                </a:xfrm>
                <a:custGeom>
                  <a:avLst/>
                  <a:gdLst>
                    <a:gd name="T0" fmla="*/ 130 w 156"/>
                    <a:gd name="T1" fmla="*/ 52 h 52"/>
                    <a:gd name="T2" fmla="*/ 26 w 156"/>
                    <a:gd name="T3" fmla="*/ 52 h 52"/>
                    <a:gd name="T4" fmla="*/ 0 w 156"/>
                    <a:gd name="T5" fmla="*/ 26 h 52"/>
                    <a:gd name="T6" fmla="*/ 26 w 156"/>
                    <a:gd name="T7" fmla="*/ 0 h 52"/>
                    <a:gd name="T8" fmla="*/ 130 w 156"/>
                    <a:gd name="T9" fmla="*/ 0 h 52"/>
                    <a:gd name="T10" fmla="*/ 156 w 156"/>
                    <a:gd name="T11" fmla="*/ 26 h 52"/>
                    <a:gd name="T12" fmla="*/ 130 w 156"/>
                    <a:gd name="T13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6" h="52">
                      <a:moveTo>
                        <a:pt x="130" y="52"/>
                      </a:moveTo>
                      <a:lnTo>
                        <a:pt x="26" y="52"/>
                      </a:lnTo>
                      <a:cubicBezTo>
                        <a:pt x="11" y="52"/>
                        <a:pt x="0" y="40"/>
                        <a:pt x="0" y="26"/>
                      </a:cubicBezTo>
                      <a:cubicBezTo>
                        <a:pt x="0" y="12"/>
                        <a:pt x="11" y="0"/>
                        <a:pt x="26" y="0"/>
                      </a:cubicBezTo>
                      <a:lnTo>
                        <a:pt x="130" y="0"/>
                      </a:lnTo>
                      <a:cubicBezTo>
                        <a:pt x="144" y="0"/>
                        <a:pt x="156" y="12"/>
                        <a:pt x="156" y="26"/>
                      </a:cubicBezTo>
                      <a:cubicBezTo>
                        <a:pt x="156" y="40"/>
                        <a:pt x="144" y="52"/>
                        <a:pt x="130" y="52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34" name="Crowdsourcing2">
                  <a:extLst>
                    <a:ext uri="{FF2B5EF4-FFF2-40B4-BE49-F238E27FC236}">
                      <a16:creationId xmlns="" xmlns:a16="http://schemas.microsoft.com/office/drawing/2014/main" id="{A3DA463B-A7B0-4074-BC19-C8A951568F82}"/>
                    </a:ext>
                  </a:extLst>
                </p:cNvPr>
                <p:cNvSpPr>
                  <a:spLocks/>
                </p:cNvSpPr>
                <p:nvPr>
                  <p:custDataLst>
                    <p:tags r:id="rId36"/>
                  </p:custDataLst>
                </p:nvPr>
              </p:nvSpPr>
              <p:spPr bwMode="auto">
                <a:xfrm>
                  <a:off x="2235533" y="1812758"/>
                  <a:ext cx="21901" cy="68010"/>
                </a:xfrm>
                <a:custGeom>
                  <a:avLst/>
                  <a:gdLst>
                    <a:gd name="T0" fmla="*/ 26 w 52"/>
                    <a:gd name="T1" fmla="*/ 156 h 156"/>
                    <a:gd name="T2" fmla="*/ 0 w 52"/>
                    <a:gd name="T3" fmla="*/ 130 h 156"/>
                    <a:gd name="T4" fmla="*/ 0 w 52"/>
                    <a:gd name="T5" fmla="*/ 26 h 156"/>
                    <a:gd name="T6" fmla="*/ 26 w 52"/>
                    <a:gd name="T7" fmla="*/ 0 h 156"/>
                    <a:gd name="T8" fmla="*/ 52 w 52"/>
                    <a:gd name="T9" fmla="*/ 26 h 156"/>
                    <a:gd name="T10" fmla="*/ 52 w 52"/>
                    <a:gd name="T11" fmla="*/ 130 h 156"/>
                    <a:gd name="T12" fmla="*/ 26 w 52"/>
                    <a:gd name="T13" fmla="*/ 156 h 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2" h="156">
                      <a:moveTo>
                        <a:pt x="26" y="156"/>
                      </a:moveTo>
                      <a:cubicBezTo>
                        <a:pt x="12" y="156"/>
                        <a:pt x="0" y="145"/>
                        <a:pt x="0" y="130"/>
                      </a:cubicBezTo>
                      <a:lnTo>
                        <a:pt x="0" y="26"/>
                      </a:lnTo>
                      <a:cubicBezTo>
                        <a:pt x="0" y="12"/>
                        <a:pt x="12" y="0"/>
                        <a:pt x="26" y="0"/>
                      </a:cubicBezTo>
                      <a:cubicBezTo>
                        <a:pt x="40" y="0"/>
                        <a:pt x="52" y="12"/>
                        <a:pt x="52" y="26"/>
                      </a:cubicBezTo>
                      <a:lnTo>
                        <a:pt x="52" y="130"/>
                      </a:lnTo>
                      <a:cubicBezTo>
                        <a:pt x="52" y="145"/>
                        <a:pt x="40" y="156"/>
                        <a:pt x="26" y="156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35" name="Crowdsourcing2">
                  <a:extLst>
                    <a:ext uri="{FF2B5EF4-FFF2-40B4-BE49-F238E27FC236}">
                      <a16:creationId xmlns="" xmlns:a16="http://schemas.microsoft.com/office/drawing/2014/main" id="{9E803931-742A-4CEB-A220-6DD7BBD4D94C}"/>
                    </a:ext>
                  </a:extLst>
                </p:cNvPr>
                <p:cNvSpPr>
                  <a:spLocks/>
                </p:cNvSpPr>
                <p:nvPr>
                  <p:custDataLst>
                    <p:tags r:id="rId37"/>
                  </p:custDataLst>
                </p:nvPr>
              </p:nvSpPr>
              <p:spPr bwMode="auto">
                <a:xfrm>
                  <a:off x="2087986" y="1960304"/>
                  <a:ext cx="68010" cy="21901"/>
                </a:xfrm>
                <a:custGeom>
                  <a:avLst/>
                  <a:gdLst>
                    <a:gd name="T0" fmla="*/ 131 w 157"/>
                    <a:gd name="T1" fmla="*/ 52 h 52"/>
                    <a:gd name="T2" fmla="*/ 26 w 157"/>
                    <a:gd name="T3" fmla="*/ 52 h 52"/>
                    <a:gd name="T4" fmla="*/ 0 w 157"/>
                    <a:gd name="T5" fmla="*/ 26 h 52"/>
                    <a:gd name="T6" fmla="*/ 26 w 157"/>
                    <a:gd name="T7" fmla="*/ 0 h 52"/>
                    <a:gd name="T8" fmla="*/ 131 w 157"/>
                    <a:gd name="T9" fmla="*/ 0 h 52"/>
                    <a:gd name="T10" fmla="*/ 157 w 157"/>
                    <a:gd name="T11" fmla="*/ 26 h 52"/>
                    <a:gd name="T12" fmla="*/ 131 w 157"/>
                    <a:gd name="T13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7" h="52">
                      <a:moveTo>
                        <a:pt x="131" y="52"/>
                      </a:moveTo>
                      <a:lnTo>
                        <a:pt x="26" y="52"/>
                      </a:lnTo>
                      <a:cubicBezTo>
                        <a:pt x="12" y="52"/>
                        <a:pt x="0" y="40"/>
                        <a:pt x="0" y="26"/>
                      </a:cubicBezTo>
                      <a:cubicBezTo>
                        <a:pt x="0" y="11"/>
                        <a:pt x="12" y="0"/>
                        <a:pt x="26" y="0"/>
                      </a:cubicBezTo>
                      <a:lnTo>
                        <a:pt x="131" y="0"/>
                      </a:lnTo>
                      <a:cubicBezTo>
                        <a:pt x="145" y="0"/>
                        <a:pt x="157" y="11"/>
                        <a:pt x="157" y="26"/>
                      </a:cubicBezTo>
                      <a:cubicBezTo>
                        <a:pt x="157" y="40"/>
                        <a:pt x="145" y="52"/>
                        <a:pt x="131" y="52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36" name="Crowdsourcing2">
                  <a:extLst>
                    <a:ext uri="{FF2B5EF4-FFF2-40B4-BE49-F238E27FC236}">
                      <a16:creationId xmlns="" xmlns:a16="http://schemas.microsoft.com/office/drawing/2014/main" id="{F5A2ECB9-4E94-43CF-BC1D-9C4AC2C36676}"/>
                    </a:ext>
                  </a:extLst>
                </p:cNvPr>
                <p:cNvSpPr>
                  <a:spLocks/>
                </p:cNvSpPr>
                <p:nvPr>
                  <p:custDataLst>
                    <p:tags r:id="rId38"/>
                  </p:custDataLst>
                </p:nvPr>
              </p:nvSpPr>
              <p:spPr bwMode="auto">
                <a:xfrm>
                  <a:off x="2128331" y="1853103"/>
                  <a:ext cx="56483" cy="55330"/>
                </a:xfrm>
                <a:custGeom>
                  <a:avLst/>
                  <a:gdLst>
                    <a:gd name="T0" fmla="*/ 103 w 131"/>
                    <a:gd name="T1" fmla="*/ 128 h 128"/>
                    <a:gd name="T2" fmla="*/ 84 w 131"/>
                    <a:gd name="T3" fmla="*/ 121 h 128"/>
                    <a:gd name="T4" fmla="*/ 11 w 131"/>
                    <a:gd name="T5" fmla="*/ 47 h 128"/>
                    <a:gd name="T6" fmla="*/ 11 w 131"/>
                    <a:gd name="T7" fmla="*/ 10 h 128"/>
                    <a:gd name="T8" fmla="*/ 47 w 131"/>
                    <a:gd name="T9" fmla="*/ 10 h 128"/>
                    <a:gd name="T10" fmla="*/ 121 w 131"/>
                    <a:gd name="T11" fmla="*/ 84 h 128"/>
                    <a:gd name="T12" fmla="*/ 121 w 131"/>
                    <a:gd name="T13" fmla="*/ 121 h 128"/>
                    <a:gd name="T14" fmla="*/ 103 w 131"/>
                    <a:gd name="T15" fmla="*/ 128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1" h="128">
                      <a:moveTo>
                        <a:pt x="103" y="128"/>
                      </a:moveTo>
                      <a:cubicBezTo>
                        <a:pt x="96" y="128"/>
                        <a:pt x="89" y="126"/>
                        <a:pt x="84" y="121"/>
                      </a:cubicBezTo>
                      <a:lnTo>
                        <a:pt x="11" y="47"/>
                      </a:lnTo>
                      <a:cubicBezTo>
                        <a:pt x="0" y="37"/>
                        <a:pt x="0" y="20"/>
                        <a:pt x="11" y="10"/>
                      </a:cubicBezTo>
                      <a:cubicBezTo>
                        <a:pt x="21" y="0"/>
                        <a:pt x="37" y="0"/>
                        <a:pt x="47" y="10"/>
                      </a:cubicBezTo>
                      <a:lnTo>
                        <a:pt x="121" y="84"/>
                      </a:lnTo>
                      <a:cubicBezTo>
                        <a:pt x="131" y="94"/>
                        <a:pt x="131" y="111"/>
                        <a:pt x="121" y="121"/>
                      </a:cubicBezTo>
                      <a:cubicBezTo>
                        <a:pt x="116" y="126"/>
                        <a:pt x="109" y="128"/>
                        <a:pt x="103" y="128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37" name="Crowdsourcing2">
                  <a:extLst>
                    <a:ext uri="{FF2B5EF4-FFF2-40B4-BE49-F238E27FC236}">
                      <a16:creationId xmlns="" xmlns:a16="http://schemas.microsoft.com/office/drawing/2014/main" id="{BCAFB665-9E07-4E8F-9137-526E02E75BEB}"/>
                    </a:ext>
                  </a:extLst>
                </p:cNvPr>
                <p:cNvSpPr>
                  <a:spLocks/>
                </p:cNvSpPr>
                <p:nvPr>
                  <p:custDataLst>
                    <p:tags r:id="rId39"/>
                  </p:custDataLst>
                </p:nvPr>
              </p:nvSpPr>
              <p:spPr bwMode="auto">
                <a:xfrm>
                  <a:off x="2307001" y="1853103"/>
                  <a:ext cx="56483" cy="55330"/>
                </a:xfrm>
                <a:custGeom>
                  <a:avLst/>
                  <a:gdLst>
                    <a:gd name="T0" fmla="*/ 28 w 130"/>
                    <a:gd name="T1" fmla="*/ 128 h 128"/>
                    <a:gd name="T2" fmla="*/ 10 w 130"/>
                    <a:gd name="T3" fmla="*/ 121 h 128"/>
                    <a:gd name="T4" fmla="*/ 10 w 130"/>
                    <a:gd name="T5" fmla="*/ 84 h 128"/>
                    <a:gd name="T6" fmla="*/ 83 w 130"/>
                    <a:gd name="T7" fmla="*/ 10 h 128"/>
                    <a:gd name="T8" fmla="*/ 120 w 130"/>
                    <a:gd name="T9" fmla="*/ 10 h 128"/>
                    <a:gd name="T10" fmla="*/ 120 w 130"/>
                    <a:gd name="T11" fmla="*/ 47 h 128"/>
                    <a:gd name="T12" fmla="*/ 47 w 130"/>
                    <a:gd name="T13" fmla="*/ 121 h 128"/>
                    <a:gd name="T14" fmla="*/ 28 w 130"/>
                    <a:gd name="T15" fmla="*/ 128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0" h="128">
                      <a:moveTo>
                        <a:pt x="28" y="128"/>
                      </a:moveTo>
                      <a:cubicBezTo>
                        <a:pt x="22" y="128"/>
                        <a:pt x="15" y="126"/>
                        <a:pt x="10" y="121"/>
                      </a:cubicBezTo>
                      <a:cubicBezTo>
                        <a:pt x="0" y="111"/>
                        <a:pt x="0" y="94"/>
                        <a:pt x="10" y="84"/>
                      </a:cubicBezTo>
                      <a:lnTo>
                        <a:pt x="83" y="10"/>
                      </a:lnTo>
                      <a:cubicBezTo>
                        <a:pt x="94" y="0"/>
                        <a:pt x="110" y="0"/>
                        <a:pt x="120" y="10"/>
                      </a:cubicBezTo>
                      <a:cubicBezTo>
                        <a:pt x="130" y="20"/>
                        <a:pt x="130" y="37"/>
                        <a:pt x="120" y="47"/>
                      </a:cubicBezTo>
                      <a:lnTo>
                        <a:pt x="47" y="121"/>
                      </a:lnTo>
                      <a:cubicBezTo>
                        <a:pt x="42" y="126"/>
                        <a:pt x="35" y="128"/>
                        <a:pt x="28" y="128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38" name="Crowdsourcing2">
                  <a:extLst>
                    <a:ext uri="{FF2B5EF4-FFF2-40B4-BE49-F238E27FC236}">
                      <a16:creationId xmlns="" xmlns:a16="http://schemas.microsoft.com/office/drawing/2014/main" id="{E915F6DD-1C83-48EF-8E09-E06B8B017236}"/>
                    </a:ext>
                  </a:extLst>
                </p:cNvPr>
                <p:cNvSpPr>
                  <a:spLocks/>
                </p:cNvSpPr>
                <p:nvPr>
                  <p:custDataLst>
                    <p:tags r:id="rId40"/>
                  </p:custDataLst>
                </p:nvPr>
              </p:nvSpPr>
              <p:spPr bwMode="auto">
                <a:xfrm>
                  <a:off x="2336971" y="1960304"/>
                  <a:ext cx="68010" cy="21901"/>
                </a:xfrm>
                <a:custGeom>
                  <a:avLst/>
                  <a:gdLst>
                    <a:gd name="T0" fmla="*/ 131 w 157"/>
                    <a:gd name="T1" fmla="*/ 52 h 52"/>
                    <a:gd name="T2" fmla="*/ 26 w 157"/>
                    <a:gd name="T3" fmla="*/ 52 h 52"/>
                    <a:gd name="T4" fmla="*/ 0 w 157"/>
                    <a:gd name="T5" fmla="*/ 26 h 52"/>
                    <a:gd name="T6" fmla="*/ 26 w 157"/>
                    <a:gd name="T7" fmla="*/ 0 h 52"/>
                    <a:gd name="T8" fmla="*/ 131 w 157"/>
                    <a:gd name="T9" fmla="*/ 0 h 52"/>
                    <a:gd name="T10" fmla="*/ 157 w 157"/>
                    <a:gd name="T11" fmla="*/ 26 h 52"/>
                    <a:gd name="T12" fmla="*/ 131 w 157"/>
                    <a:gd name="T13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7" h="52">
                      <a:moveTo>
                        <a:pt x="131" y="52"/>
                      </a:moveTo>
                      <a:lnTo>
                        <a:pt x="26" y="52"/>
                      </a:lnTo>
                      <a:cubicBezTo>
                        <a:pt x="12" y="52"/>
                        <a:pt x="0" y="40"/>
                        <a:pt x="0" y="26"/>
                      </a:cubicBezTo>
                      <a:cubicBezTo>
                        <a:pt x="0" y="11"/>
                        <a:pt x="12" y="0"/>
                        <a:pt x="26" y="0"/>
                      </a:cubicBezTo>
                      <a:lnTo>
                        <a:pt x="131" y="0"/>
                      </a:lnTo>
                      <a:cubicBezTo>
                        <a:pt x="145" y="0"/>
                        <a:pt x="157" y="11"/>
                        <a:pt x="157" y="26"/>
                      </a:cubicBezTo>
                      <a:cubicBezTo>
                        <a:pt x="157" y="40"/>
                        <a:pt x="145" y="52"/>
                        <a:pt x="131" y="52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39" name="Crowdsourcing2">
                  <a:extLst>
                    <a:ext uri="{FF2B5EF4-FFF2-40B4-BE49-F238E27FC236}">
                      <a16:creationId xmlns="" xmlns:a16="http://schemas.microsoft.com/office/drawing/2014/main" id="{6BD66400-0B5A-45FD-BF80-6FE0CCFD9D64}"/>
                    </a:ext>
                  </a:extLst>
                </p:cNvPr>
                <p:cNvSpPr>
                  <a:spLocks/>
                </p:cNvSpPr>
                <p:nvPr>
                  <p:custDataLst>
                    <p:tags r:id="rId41"/>
                  </p:custDataLst>
                </p:nvPr>
              </p:nvSpPr>
              <p:spPr bwMode="auto">
                <a:xfrm>
                  <a:off x="2212479" y="2128600"/>
                  <a:ext cx="68010" cy="34581"/>
                </a:xfrm>
                <a:custGeom>
                  <a:avLst/>
                  <a:gdLst>
                    <a:gd name="T0" fmla="*/ 130 w 156"/>
                    <a:gd name="T1" fmla="*/ 0 h 78"/>
                    <a:gd name="T2" fmla="*/ 26 w 156"/>
                    <a:gd name="T3" fmla="*/ 0 h 78"/>
                    <a:gd name="T4" fmla="*/ 0 w 156"/>
                    <a:gd name="T5" fmla="*/ 26 h 78"/>
                    <a:gd name="T6" fmla="*/ 26 w 156"/>
                    <a:gd name="T7" fmla="*/ 52 h 78"/>
                    <a:gd name="T8" fmla="*/ 39 w 156"/>
                    <a:gd name="T9" fmla="*/ 52 h 78"/>
                    <a:gd name="T10" fmla="*/ 65 w 156"/>
                    <a:gd name="T11" fmla="*/ 78 h 78"/>
                    <a:gd name="T12" fmla="*/ 91 w 156"/>
                    <a:gd name="T13" fmla="*/ 78 h 78"/>
                    <a:gd name="T14" fmla="*/ 117 w 156"/>
                    <a:gd name="T15" fmla="*/ 52 h 78"/>
                    <a:gd name="T16" fmla="*/ 130 w 156"/>
                    <a:gd name="T17" fmla="*/ 52 h 78"/>
                    <a:gd name="T18" fmla="*/ 156 w 156"/>
                    <a:gd name="T19" fmla="*/ 26 h 78"/>
                    <a:gd name="T20" fmla="*/ 130 w 156"/>
                    <a:gd name="T21" fmla="*/ 0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56" h="78">
                      <a:moveTo>
                        <a:pt x="130" y="0"/>
                      </a:moveTo>
                      <a:lnTo>
                        <a:pt x="26" y="0"/>
                      </a:lnTo>
                      <a:cubicBezTo>
                        <a:pt x="11" y="0"/>
                        <a:pt x="0" y="12"/>
                        <a:pt x="0" y="26"/>
                      </a:cubicBezTo>
                      <a:cubicBezTo>
                        <a:pt x="0" y="41"/>
                        <a:pt x="11" y="52"/>
                        <a:pt x="26" y="52"/>
                      </a:cubicBezTo>
                      <a:lnTo>
                        <a:pt x="39" y="52"/>
                      </a:lnTo>
                      <a:cubicBezTo>
                        <a:pt x="39" y="67"/>
                        <a:pt x="51" y="78"/>
                        <a:pt x="65" y="78"/>
                      </a:cubicBezTo>
                      <a:lnTo>
                        <a:pt x="91" y="78"/>
                      </a:lnTo>
                      <a:cubicBezTo>
                        <a:pt x="105" y="78"/>
                        <a:pt x="117" y="67"/>
                        <a:pt x="117" y="52"/>
                      </a:cubicBezTo>
                      <a:lnTo>
                        <a:pt x="130" y="52"/>
                      </a:lnTo>
                      <a:cubicBezTo>
                        <a:pt x="144" y="52"/>
                        <a:pt x="156" y="41"/>
                        <a:pt x="156" y="26"/>
                      </a:cubicBezTo>
                      <a:cubicBezTo>
                        <a:pt x="156" y="12"/>
                        <a:pt x="144" y="0"/>
                        <a:pt x="130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0" name="Crowdsourcing2">
                  <a:extLst>
                    <a:ext uri="{FF2B5EF4-FFF2-40B4-BE49-F238E27FC236}">
                      <a16:creationId xmlns="" xmlns:a16="http://schemas.microsoft.com/office/drawing/2014/main" id="{3773014E-9EFC-46A2-9748-353CC1173C84}"/>
                    </a:ext>
                  </a:extLst>
                </p:cNvPr>
                <p:cNvSpPr>
                  <a:spLocks/>
                </p:cNvSpPr>
                <p:nvPr>
                  <p:custDataLst>
                    <p:tags r:id="rId42"/>
                  </p:custDataLst>
                </p:nvPr>
              </p:nvSpPr>
              <p:spPr bwMode="auto">
                <a:xfrm>
                  <a:off x="2167523" y="1892295"/>
                  <a:ext cx="157921" cy="191349"/>
                </a:xfrm>
                <a:custGeom>
                  <a:avLst/>
                  <a:gdLst>
                    <a:gd name="T0" fmla="*/ 316 w 364"/>
                    <a:gd name="T1" fmla="*/ 306 h 443"/>
                    <a:gd name="T2" fmla="*/ 364 w 364"/>
                    <a:gd name="T3" fmla="*/ 183 h 443"/>
                    <a:gd name="T4" fmla="*/ 182 w 364"/>
                    <a:gd name="T5" fmla="*/ 0 h 443"/>
                    <a:gd name="T6" fmla="*/ 0 w 364"/>
                    <a:gd name="T7" fmla="*/ 183 h 443"/>
                    <a:gd name="T8" fmla="*/ 45 w 364"/>
                    <a:gd name="T9" fmla="*/ 302 h 443"/>
                    <a:gd name="T10" fmla="*/ 104 w 364"/>
                    <a:gd name="T11" fmla="*/ 417 h 443"/>
                    <a:gd name="T12" fmla="*/ 130 w 364"/>
                    <a:gd name="T13" fmla="*/ 443 h 443"/>
                    <a:gd name="T14" fmla="*/ 234 w 364"/>
                    <a:gd name="T15" fmla="*/ 443 h 443"/>
                    <a:gd name="T16" fmla="*/ 260 w 364"/>
                    <a:gd name="T17" fmla="*/ 417 h 443"/>
                    <a:gd name="T18" fmla="*/ 260 w 364"/>
                    <a:gd name="T19" fmla="*/ 416 h 443"/>
                    <a:gd name="T20" fmla="*/ 316 w 364"/>
                    <a:gd name="T21" fmla="*/ 306 h 4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64" h="443">
                      <a:moveTo>
                        <a:pt x="316" y="306"/>
                      </a:moveTo>
                      <a:cubicBezTo>
                        <a:pt x="346" y="273"/>
                        <a:pt x="364" y="230"/>
                        <a:pt x="364" y="183"/>
                      </a:cubicBezTo>
                      <a:cubicBezTo>
                        <a:pt x="364" y="82"/>
                        <a:pt x="283" y="0"/>
                        <a:pt x="182" y="0"/>
                      </a:cubicBezTo>
                      <a:cubicBezTo>
                        <a:pt x="81" y="0"/>
                        <a:pt x="0" y="82"/>
                        <a:pt x="0" y="183"/>
                      </a:cubicBezTo>
                      <a:cubicBezTo>
                        <a:pt x="0" y="229"/>
                        <a:pt x="17" y="270"/>
                        <a:pt x="45" y="302"/>
                      </a:cubicBezTo>
                      <a:cubicBezTo>
                        <a:pt x="57" y="316"/>
                        <a:pt x="104" y="372"/>
                        <a:pt x="104" y="417"/>
                      </a:cubicBezTo>
                      <a:cubicBezTo>
                        <a:pt x="104" y="431"/>
                        <a:pt x="115" y="443"/>
                        <a:pt x="130" y="443"/>
                      </a:cubicBezTo>
                      <a:lnTo>
                        <a:pt x="234" y="443"/>
                      </a:lnTo>
                      <a:cubicBezTo>
                        <a:pt x="248" y="443"/>
                        <a:pt x="260" y="431"/>
                        <a:pt x="260" y="417"/>
                      </a:cubicBezTo>
                      <a:lnTo>
                        <a:pt x="260" y="416"/>
                      </a:lnTo>
                      <a:cubicBezTo>
                        <a:pt x="261" y="373"/>
                        <a:pt x="301" y="323"/>
                        <a:pt x="316" y="306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441" name="Clock3">
                <a:extLst>
                  <a:ext uri="{FF2B5EF4-FFF2-40B4-BE49-F238E27FC236}">
                    <a16:creationId xmlns="" xmlns:a16="http://schemas.microsoft.com/office/drawing/2014/main" id="{564070B0-8555-44C2-8F39-BC86DCD0987E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5"/>
                </p:custDataLst>
              </p:nvPr>
            </p:nvGrpSpPr>
            <p:grpSpPr bwMode="auto">
              <a:xfrm>
                <a:off x="4697472" y="5413840"/>
                <a:ext cx="309115" cy="310106"/>
                <a:chOff x="86" y="86"/>
                <a:chExt cx="312" cy="313"/>
              </a:xfrm>
              <a:solidFill>
                <a:schemeClr val="bg1"/>
              </a:solidFill>
            </p:grpSpPr>
            <p:sp>
              <p:nvSpPr>
                <p:cNvPr id="442" name="Clock3">
                  <a:extLst>
                    <a:ext uri="{FF2B5EF4-FFF2-40B4-BE49-F238E27FC236}">
                      <a16:creationId xmlns="" xmlns:a16="http://schemas.microsoft.com/office/drawing/2014/main" id="{7F9D2C15-AB21-45C5-87BC-D51EAC6E3BC6}"/>
                    </a:ext>
                  </a:extLst>
                </p:cNvPr>
                <p:cNvSpPr>
                  <a:spLocks noEditPoints="1"/>
                </p:cNvSpPr>
                <p:nvPr>
                  <p:custDataLst>
                    <p:tags r:id="rId29"/>
                  </p:custDataLst>
                </p:nvPr>
              </p:nvSpPr>
              <p:spPr bwMode="auto">
                <a:xfrm>
                  <a:off x="86" y="86"/>
                  <a:ext cx="312" cy="313"/>
                </a:xfrm>
                <a:custGeom>
                  <a:avLst/>
                  <a:gdLst>
                    <a:gd name="T0" fmla="*/ 200 w 400"/>
                    <a:gd name="T1" fmla="*/ 50 h 400"/>
                    <a:gd name="T2" fmla="*/ 350 w 400"/>
                    <a:gd name="T3" fmla="*/ 200 h 400"/>
                    <a:gd name="T4" fmla="*/ 200 w 400"/>
                    <a:gd name="T5" fmla="*/ 350 h 400"/>
                    <a:gd name="T6" fmla="*/ 50 w 400"/>
                    <a:gd name="T7" fmla="*/ 200 h 400"/>
                    <a:gd name="T8" fmla="*/ 200 w 400"/>
                    <a:gd name="T9" fmla="*/ 50 h 400"/>
                    <a:gd name="T10" fmla="*/ 200 w 400"/>
                    <a:gd name="T11" fmla="*/ 0 h 400"/>
                    <a:gd name="T12" fmla="*/ 0 w 400"/>
                    <a:gd name="T13" fmla="*/ 200 h 400"/>
                    <a:gd name="T14" fmla="*/ 200 w 400"/>
                    <a:gd name="T15" fmla="*/ 400 h 400"/>
                    <a:gd name="T16" fmla="*/ 400 w 400"/>
                    <a:gd name="T17" fmla="*/ 200 h 400"/>
                    <a:gd name="T18" fmla="*/ 200 w 400"/>
                    <a:gd name="T19" fmla="*/ 0 h 4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00" h="400">
                      <a:moveTo>
                        <a:pt x="200" y="50"/>
                      </a:moveTo>
                      <a:cubicBezTo>
                        <a:pt x="283" y="50"/>
                        <a:pt x="350" y="117"/>
                        <a:pt x="350" y="200"/>
                      </a:cubicBezTo>
                      <a:cubicBezTo>
                        <a:pt x="350" y="283"/>
                        <a:pt x="283" y="350"/>
                        <a:pt x="200" y="350"/>
                      </a:cubicBezTo>
                      <a:cubicBezTo>
                        <a:pt x="117" y="350"/>
                        <a:pt x="50" y="283"/>
                        <a:pt x="50" y="200"/>
                      </a:cubicBezTo>
                      <a:cubicBezTo>
                        <a:pt x="50" y="117"/>
                        <a:pt x="117" y="50"/>
                        <a:pt x="200" y="50"/>
                      </a:cubicBezTo>
                      <a:close/>
                      <a:moveTo>
                        <a:pt x="200" y="0"/>
                      </a:moveTo>
                      <a:cubicBezTo>
                        <a:pt x="90" y="0"/>
                        <a:pt x="0" y="90"/>
                        <a:pt x="0" y="200"/>
                      </a:cubicBezTo>
                      <a:cubicBezTo>
                        <a:pt x="0" y="310"/>
                        <a:pt x="90" y="400"/>
                        <a:pt x="200" y="400"/>
                      </a:cubicBezTo>
                      <a:cubicBezTo>
                        <a:pt x="310" y="400"/>
                        <a:pt x="400" y="310"/>
                        <a:pt x="400" y="200"/>
                      </a:cubicBezTo>
                      <a:cubicBezTo>
                        <a:pt x="400" y="90"/>
                        <a:pt x="310" y="0"/>
                        <a:pt x="200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3" name="Clock3">
                  <a:extLst>
                    <a:ext uri="{FF2B5EF4-FFF2-40B4-BE49-F238E27FC236}">
                      <a16:creationId xmlns="" xmlns:a16="http://schemas.microsoft.com/office/drawing/2014/main" id="{14768437-D082-4751-8687-0F6390BC8081}"/>
                    </a:ext>
                  </a:extLst>
                </p:cNvPr>
                <p:cNvSpPr>
                  <a:spLocks/>
                </p:cNvSpPr>
                <p:nvPr>
                  <p:custDataLst>
                    <p:tags r:id="rId30"/>
                  </p:custDataLst>
                </p:nvPr>
              </p:nvSpPr>
              <p:spPr bwMode="auto">
                <a:xfrm>
                  <a:off x="227" y="189"/>
                  <a:ext cx="96" cy="109"/>
                </a:xfrm>
                <a:custGeom>
                  <a:avLst/>
                  <a:gdLst>
                    <a:gd name="T0" fmla="*/ 102 w 123"/>
                    <a:gd name="T1" fmla="*/ 140 h 140"/>
                    <a:gd name="T2" fmla="*/ 92 w 123"/>
                    <a:gd name="T3" fmla="*/ 138 h 140"/>
                    <a:gd name="T4" fmla="*/ 0 w 123"/>
                    <a:gd name="T5" fmla="*/ 80 h 140"/>
                    <a:gd name="T6" fmla="*/ 0 w 123"/>
                    <a:gd name="T7" fmla="*/ 19 h 140"/>
                    <a:gd name="T8" fmla="*/ 19 w 123"/>
                    <a:gd name="T9" fmla="*/ 0 h 140"/>
                    <a:gd name="T10" fmla="*/ 38 w 123"/>
                    <a:gd name="T11" fmla="*/ 19 h 140"/>
                    <a:gd name="T12" fmla="*/ 38 w 123"/>
                    <a:gd name="T13" fmla="*/ 59 h 140"/>
                    <a:gd name="T14" fmla="*/ 112 w 123"/>
                    <a:gd name="T15" fmla="*/ 105 h 140"/>
                    <a:gd name="T16" fmla="*/ 118 w 123"/>
                    <a:gd name="T17" fmla="*/ 132 h 140"/>
                    <a:gd name="T18" fmla="*/ 102 w 123"/>
                    <a:gd name="T19" fmla="*/ 140 h 1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3" h="140">
                      <a:moveTo>
                        <a:pt x="102" y="140"/>
                      </a:moveTo>
                      <a:cubicBezTo>
                        <a:pt x="98" y="140"/>
                        <a:pt x="94" y="139"/>
                        <a:pt x="92" y="138"/>
                      </a:cubicBezTo>
                      <a:lnTo>
                        <a:pt x="0" y="80"/>
                      </a:lnTo>
                      <a:lnTo>
                        <a:pt x="0" y="19"/>
                      </a:lnTo>
                      <a:cubicBezTo>
                        <a:pt x="0" y="9"/>
                        <a:pt x="9" y="0"/>
                        <a:pt x="19" y="0"/>
                      </a:cubicBezTo>
                      <a:cubicBezTo>
                        <a:pt x="29" y="0"/>
                        <a:pt x="38" y="9"/>
                        <a:pt x="38" y="19"/>
                      </a:cubicBezTo>
                      <a:lnTo>
                        <a:pt x="38" y="59"/>
                      </a:lnTo>
                      <a:lnTo>
                        <a:pt x="112" y="105"/>
                      </a:lnTo>
                      <a:cubicBezTo>
                        <a:pt x="120" y="110"/>
                        <a:pt x="123" y="123"/>
                        <a:pt x="118" y="132"/>
                      </a:cubicBezTo>
                      <a:cubicBezTo>
                        <a:pt x="114" y="137"/>
                        <a:pt x="108" y="140"/>
                        <a:pt x="102" y="14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4" name="Clock3">
                  <a:extLst>
                    <a:ext uri="{FF2B5EF4-FFF2-40B4-BE49-F238E27FC236}">
                      <a16:creationId xmlns="" xmlns:a16="http://schemas.microsoft.com/office/drawing/2014/main" id="{8D3C6754-6112-47C2-9745-0566B073F0F5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31"/>
                  </p:custDataLst>
                </p:nvPr>
              </p:nvSpPr>
              <p:spPr bwMode="auto">
                <a:xfrm>
                  <a:off x="233" y="135"/>
                  <a:ext cx="19" cy="20"/>
                </a:xfrm>
                <a:prstGeom prst="ellipse">
                  <a:avLst/>
                </a:pr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5" name="Clock3">
                  <a:extLst>
                    <a:ext uri="{FF2B5EF4-FFF2-40B4-BE49-F238E27FC236}">
                      <a16:creationId xmlns="" xmlns:a16="http://schemas.microsoft.com/office/drawing/2014/main" id="{582B2363-824A-40E5-A296-2EB838BD74B0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32"/>
                  </p:custDataLst>
                </p:nvPr>
              </p:nvSpPr>
              <p:spPr bwMode="auto">
                <a:xfrm>
                  <a:off x="135" y="233"/>
                  <a:ext cx="20" cy="20"/>
                </a:xfrm>
                <a:prstGeom prst="ellipse">
                  <a:avLst/>
                </a:pr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6" name="Clock3">
                  <a:extLst>
                    <a:ext uri="{FF2B5EF4-FFF2-40B4-BE49-F238E27FC236}">
                      <a16:creationId xmlns="" xmlns:a16="http://schemas.microsoft.com/office/drawing/2014/main" id="{8C772469-40C8-42C8-BAE5-56D61AF2BB8C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33"/>
                  </p:custDataLst>
                </p:nvPr>
              </p:nvSpPr>
              <p:spPr bwMode="auto">
                <a:xfrm>
                  <a:off x="233" y="331"/>
                  <a:ext cx="19" cy="20"/>
                </a:xfrm>
                <a:prstGeom prst="ellipse">
                  <a:avLst/>
                </a:pr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47" name="Clock3">
                  <a:extLst>
                    <a:ext uri="{FF2B5EF4-FFF2-40B4-BE49-F238E27FC236}">
                      <a16:creationId xmlns="" xmlns:a16="http://schemas.microsoft.com/office/drawing/2014/main" id="{8B169E4B-7EC7-479A-9D68-823177498C90}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34"/>
                  </p:custDataLst>
                </p:nvPr>
              </p:nvSpPr>
              <p:spPr bwMode="auto">
                <a:xfrm>
                  <a:off x="330" y="233"/>
                  <a:ext cx="20" cy="20"/>
                </a:xfrm>
                <a:prstGeom prst="ellipse">
                  <a:avLst/>
                </a:pr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448" name="Distribution_Site">
                <a:extLst>
                  <a:ext uri="{FF2B5EF4-FFF2-40B4-BE49-F238E27FC236}">
                    <a16:creationId xmlns="" xmlns:a16="http://schemas.microsoft.com/office/drawing/2014/main" id="{651E532E-3DF9-4BCF-B40B-BF7886AB0155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6"/>
                </p:custDataLst>
              </p:nvPr>
            </p:nvGrpSpPr>
            <p:grpSpPr bwMode="auto">
              <a:xfrm>
                <a:off x="3466941" y="3283442"/>
                <a:ext cx="310106" cy="310106"/>
                <a:chOff x="8" y="8"/>
                <a:chExt cx="470" cy="470"/>
              </a:xfrm>
              <a:solidFill>
                <a:schemeClr val="bg1"/>
              </a:solidFill>
            </p:grpSpPr>
            <p:sp>
              <p:nvSpPr>
                <p:cNvPr id="449" name="Distribution_Site">
                  <a:extLst>
                    <a:ext uri="{FF2B5EF4-FFF2-40B4-BE49-F238E27FC236}">
                      <a16:creationId xmlns="" xmlns:a16="http://schemas.microsoft.com/office/drawing/2014/main" id="{A0243B04-3AEE-4EC0-9313-B123E7AAB981}"/>
                    </a:ext>
                  </a:extLst>
                </p:cNvPr>
                <p:cNvSpPr>
                  <a:spLocks/>
                </p:cNvSpPr>
                <p:nvPr>
                  <p:custDataLst>
                    <p:tags r:id="rId25"/>
                  </p:custDataLst>
                </p:nvPr>
              </p:nvSpPr>
              <p:spPr bwMode="auto">
                <a:xfrm>
                  <a:off x="8" y="8"/>
                  <a:ext cx="470" cy="157"/>
                </a:xfrm>
                <a:custGeom>
                  <a:avLst/>
                  <a:gdLst>
                    <a:gd name="T0" fmla="*/ 1198 w 1250"/>
                    <a:gd name="T1" fmla="*/ 416 h 416"/>
                    <a:gd name="T2" fmla="*/ 625 w 1250"/>
                    <a:gd name="T3" fmla="*/ 131 h 416"/>
                    <a:gd name="T4" fmla="*/ 52 w 1250"/>
                    <a:gd name="T5" fmla="*/ 416 h 416"/>
                    <a:gd name="T6" fmla="*/ 0 w 1250"/>
                    <a:gd name="T7" fmla="*/ 311 h 416"/>
                    <a:gd name="T8" fmla="*/ 624 w 1250"/>
                    <a:gd name="T9" fmla="*/ 1 h 416"/>
                    <a:gd name="T10" fmla="*/ 624 w 1250"/>
                    <a:gd name="T11" fmla="*/ 0 h 416"/>
                    <a:gd name="T12" fmla="*/ 625 w 1250"/>
                    <a:gd name="T13" fmla="*/ 0 h 416"/>
                    <a:gd name="T14" fmla="*/ 626 w 1250"/>
                    <a:gd name="T15" fmla="*/ 0 h 416"/>
                    <a:gd name="T16" fmla="*/ 626 w 1250"/>
                    <a:gd name="T17" fmla="*/ 1 h 416"/>
                    <a:gd name="T18" fmla="*/ 1250 w 1250"/>
                    <a:gd name="T19" fmla="*/ 311 h 416"/>
                    <a:gd name="T20" fmla="*/ 1198 w 1250"/>
                    <a:gd name="T21" fmla="*/ 416 h 4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50" h="416">
                      <a:moveTo>
                        <a:pt x="1198" y="416"/>
                      </a:moveTo>
                      <a:lnTo>
                        <a:pt x="625" y="131"/>
                      </a:lnTo>
                      <a:lnTo>
                        <a:pt x="52" y="416"/>
                      </a:lnTo>
                      <a:lnTo>
                        <a:pt x="0" y="311"/>
                      </a:lnTo>
                      <a:lnTo>
                        <a:pt x="624" y="1"/>
                      </a:lnTo>
                      <a:lnTo>
                        <a:pt x="624" y="0"/>
                      </a:lnTo>
                      <a:lnTo>
                        <a:pt x="625" y="0"/>
                      </a:lnTo>
                      <a:lnTo>
                        <a:pt x="626" y="0"/>
                      </a:lnTo>
                      <a:lnTo>
                        <a:pt x="626" y="1"/>
                      </a:lnTo>
                      <a:lnTo>
                        <a:pt x="1250" y="311"/>
                      </a:lnTo>
                      <a:lnTo>
                        <a:pt x="1198" y="416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50" name="Distribution_Site">
                  <a:extLst>
                    <a:ext uri="{FF2B5EF4-FFF2-40B4-BE49-F238E27FC236}">
                      <a16:creationId xmlns="" xmlns:a16="http://schemas.microsoft.com/office/drawing/2014/main" id="{BD92837E-959B-489A-B87C-4356348102E1}"/>
                    </a:ext>
                  </a:extLst>
                </p:cNvPr>
                <p:cNvSpPr>
                  <a:spLocks/>
                </p:cNvSpPr>
                <p:nvPr>
                  <p:custDataLst>
                    <p:tags r:id="rId26"/>
                  </p:custDataLst>
                </p:nvPr>
              </p:nvSpPr>
              <p:spPr bwMode="auto">
                <a:xfrm>
                  <a:off x="133" y="340"/>
                  <a:ext cx="102" cy="115"/>
                </a:xfrm>
                <a:custGeom>
                  <a:avLst/>
                  <a:gdLst>
                    <a:gd name="T0" fmla="*/ 0 w 269"/>
                    <a:gd name="T1" fmla="*/ 171 h 305"/>
                    <a:gd name="T2" fmla="*/ 0 w 269"/>
                    <a:gd name="T3" fmla="*/ 6 h 305"/>
                    <a:gd name="T4" fmla="*/ 132 w 269"/>
                    <a:gd name="T5" fmla="*/ 76 h 305"/>
                    <a:gd name="T6" fmla="*/ 269 w 269"/>
                    <a:gd name="T7" fmla="*/ 0 h 305"/>
                    <a:gd name="T8" fmla="*/ 269 w 269"/>
                    <a:gd name="T9" fmla="*/ 305 h 305"/>
                    <a:gd name="T10" fmla="*/ 0 w 269"/>
                    <a:gd name="T11" fmla="*/ 171 h 3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69" h="305">
                      <a:moveTo>
                        <a:pt x="0" y="171"/>
                      </a:moveTo>
                      <a:lnTo>
                        <a:pt x="0" y="6"/>
                      </a:lnTo>
                      <a:lnTo>
                        <a:pt x="132" y="76"/>
                      </a:lnTo>
                      <a:lnTo>
                        <a:pt x="269" y="0"/>
                      </a:lnTo>
                      <a:lnTo>
                        <a:pt x="269" y="305"/>
                      </a:lnTo>
                      <a:lnTo>
                        <a:pt x="0" y="171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51" name="Distribution_Site">
                  <a:extLst>
                    <a:ext uri="{FF2B5EF4-FFF2-40B4-BE49-F238E27FC236}">
                      <a16:creationId xmlns="" xmlns:a16="http://schemas.microsoft.com/office/drawing/2014/main" id="{76F38960-BD21-4FA9-8F69-A96333AA018E}"/>
                    </a:ext>
                  </a:extLst>
                </p:cNvPr>
                <p:cNvSpPr>
                  <a:spLocks/>
                </p:cNvSpPr>
                <p:nvPr>
                  <p:custDataLst>
                    <p:tags r:id="rId27"/>
                  </p:custDataLst>
                </p:nvPr>
              </p:nvSpPr>
              <p:spPr bwMode="auto">
                <a:xfrm>
                  <a:off x="251" y="340"/>
                  <a:ext cx="101" cy="115"/>
                </a:xfrm>
                <a:custGeom>
                  <a:avLst/>
                  <a:gdLst>
                    <a:gd name="T0" fmla="*/ 268 w 268"/>
                    <a:gd name="T1" fmla="*/ 171 h 304"/>
                    <a:gd name="T2" fmla="*/ 0 w 268"/>
                    <a:gd name="T3" fmla="*/ 304 h 304"/>
                    <a:gd name="T4" fmla="*/ 0 w 268"/>
                    <a:gd name="T5" fmla="*/ 0 h 304"/>
                    <a:gd name="T6" fmla="*/ 137 w 268"/>
                    <a:gd name="T7" fmla="*/ 76 h 304"/>
                    <a:gd name="T8" fmla="*/ 268 w 268"/>
                    <a:gd name="T9" fmla="*/ 6 h 304"/>
                    <a:gd name="T10" fmla="*/ 268 w 268"/>
                    <a:gd name="T11" fmla="*/ 171 h 3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68" h="304">
                      <a:moveTo>
                        <a:pt x="268" y="171"/>
                      </a:moveTo>
                      <a:lnTo>
                        <a:pt x="0" y="304"/>
                      </a:lnTo>
                      <a:lnTo>
                        <a:pt x="0" y="0"/>
                      </a:lnTo>
                      <a:lnTo>
                        <a:pt x="137" y="76"/>
                      </a:lnTo>
                      <a:lnTo>
                        <a:pt x="268" y="6"/>
                      </a:lnTo>
                      <a:lnTo>
                        <a:pt x="268" y="171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52" name="Distribution_Site">
                  <a:extLst>
                    <a:ext uri="{FF2B5EF4-FFF2-40B4-BE49-F238E27FC236}">
                      <a16:creationId xmlns="" xmlns:a16="http://schemas.microsoft.com/office/drawing/2014/main" id="{EAD8D669-368C-4C32-B797-A7FCFF763E37}"/>
                    </a:ext>
                  </a:extLst>
                </p:cNvPr>
                <p:cNvSpPr>
                  <a:spLocks noEditPoints="1"/>
                </p:cNvSpPr>
                <p:nvPr>
                  <p:custDataLst>
                    <p:tags r:id="rId28"/>
                  </p:custDataLst>
                </p:nvPr>
              </p:nvSpPr>
              <p:spPr bwMode="auto">
                <a:xfrm>
                  <a:off x="55" y="165"/>
                  <a:ext cx="376" cy="313"/>
                </a:xfrm>
                <a:custGeom>
                  <a:avLst/>
                  <a:gdLst>
                    <a:gd name="T0" fmla="*/ 1000 w 1000"/>
                    <a:gd name="T1" fmla="*/ 184 h 833"/>
                    <a:gd name="T2" fmla="*/ 964 w 1000"/>
                    <a:gd name="T3" fmla="*/ 164 h 833"/>
                    <a:gd name="T4" fmla="*/ 666 w 1000"/>
                    <a:gd name="T5" fmla="*/ 2 h 833"/>
                    <a:gd name="T6" fmla="*/ 502 w 1000"/>
                    <a:gd name="T7" fmla="*/ 91 h 833"/>
                    <a:gd name="T8" fmla="*/ 334 w 1000"/>
                    <a:gd name="T9" fmla="*/ 0 h 833"/>
                    <a:gd name="T10" fmla="*/ 0 w 1000"/>
                    <a:gd name="T11" fmla="*/ 181 h 833"/>
                    <a:gd name="T12" fmla="*/ 36 w 1000"/>
                    <a:gd name="T13" fmla="*/ 201 h 833"/>
                    <a:gd name="T14" fmla="*/ 166 w 1000"/>
                    <a:gd name="T15" fmla="*/ 273 h 833"/>
                    <a:gd name="T16" fmla="*/ 164 w 1000"/>
                    <a:gd name="T17" fmla="*/ 274 h 833"/>
                    <a:gd name="T18" fmla="*/ 164 w 1000"/>
                    <a:gd name="T19" fmla="*/ 274 h 833"/>
                    <a:gd name="T20" fmla="*/ 164 w 1000"/>
                    <a:gd name="T21" fmla="*/ 274 h 833"/>
                    <a:gd name="T22" fmla="*/ 3 w 1000"/>
                    <a:gd name="T23" fmla="*/ 362 h 833"/>
                    <a:gd name="T24" fmla="*/ 164 w 1000"/>
                    <a:gd name="T25" fmla="*/ 448 h 833"/>
                    <a:gd name="T26" fmla="*/ 164 w 1000"/>
                    <a:gd name="T27" fmla="*/ 666 h 833"/>
                    <a:gd name="T28" fmla="*/ 500 w 1000"/>
                    <a:gd name="T29" fmla="*/ 833 h 833"/>
                    <a:gd name="T30" fmla="*/ 836 w 1000"/>
                    <a:gd name="T31" fmla="*/ 666 h 833"/>
                    <a:gd name="T32" fmla="*/ 836 w 1000"/>
                    <a:gd name="T33" fmla="*/ 449 h 833"/>
                    <a:gd name="T34" fmla="*/ 998 w 1000"/>
                    <a:gd name="T35" fmla="*/ 362 h 833"/>
                    <a:gd name="T36" fmla="*/ 837 w 1000"/>
                    <a:gd name="T37" fmla="*/ 274 h 833"/>
                    <a:gd name="T38" fmla="*/ 1000 w 1000"/>
                    <a:gd name="T39" fmla="*/ 184 h 833"/>
                    <a:gd name="T40" fmla="*/ 93 w 1000"/>
                    <a:gd name="T41" fmla="*/ 182 h 833"/>
                    <a:gd name="T42" fmla="*/ 334 w 1000"/>
                    <a:gd name="T43" fmla="*/ 51 h 833"/>
                    <a:gd name="T44" fmla="*/ 453 w 1000"/>
                    <a:gd name="T45" fmla="*/ 116 h 833"/>
                    <a:gd name="T46" fmla="*/ 210 w 1000"/>
                    <a:gd name="T47" fmla="*/ 246 h 833"/>
                    <a:gd name="T48" fmla="*/ 93 w 1000"/>
                    <a:gd name="T49" fmla="*/ 182 h 833"/>
                    <a:gd name="T50" fmla="*/ 340 w 1000"/>
                    <a:gd name="T51" fmla="*/ 492 h 833"/>
                    <a:gd name="T52" fmla="*/ 97 w 1000"/>
                    <a:gd name="T53" fmla="*/ 362 h 833"/>
                    <a:gd name="T54" fmla="*/ 216 w 1000"/>
                    <a:gd name="T55" fmla="*/ 297 h 833"/>
                    <a:gd name="T56" fmla="*/ 459 w 1000"/>
                    <a:gd name="T57" fmla="*/ 428 h 833"/>
                    <a:gd name="T58" fmla="*/ 340 w 1000"/>
                    <a:gd name="T59" fmla="*/ 492 h 833"/>
                    <a:gd name="T60" fmla="*/ 666 w 1000"/>
                    <a:gd name="T61" fmla="*/ 53 h 833"/>
                    <a:gd name="T62" fmla="*/ 906 w 1000"/>
                    <a:gd name="T63" fmla="*/ 184 h 833"/>
                    <a:gd name="T64" fmla="*/ 790 w 1000"/>
                    <a:gd name="T65" fmla="*/ 249 h 833"/>
                    <a:gd name="T66" fmla="*/ 547 w 1000"/>
                    <a:gd name="T67" fmla="*/ 118 h 833"/>
                    <a:gd name="T68" fmla="*/ 666 w 1000"/>
                    <a:gd name="T69" fmla="*/ 53 h 833"/>
                    <a:gd name="T70" fmla="*/ 903 w 1000"/>
                    <a:gd name="T71" fmla="*/ 362 h 833"/>
                    <a:gd name="T72" fmla="*/ 660 w 1000"/>
                    <a:gd name="T73" fmla="*/ 492 h 833"/>
                    <a:gd name="T74" fmla="*/ 544 w 1000"/>
                    <a:gd name="T75" fmla="*/ 428 h 833"/>
                    <a:gd name="T76" fmla="*/ 784 w 1000"/>
                    <a:gd name="T77" fmla="*/ 297 h 833"/>
                    <a:gd name="T78" fmla="*/ 903 w 1000"/>
                    <a:gd name="T79" fmla="*/ 362 h 8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1000" h="833">
                      <a:moveTo>
                        <a:pt x="1000" y="184"/>
                      </a:moveTo>
                      <a:lnTo>
                        <a:pt x="964" y="164"/>
                      </a:lnTo>
                      <a:lnTo>
                        <a:pt x="666" y="2"/>
                      </a:lnTo>
                      <a:lnTo>
                        <a:pt x="502" y="91"/>
                      </a:lnTo>
                      <a:lnTo>
                        <a:pt x="334" y="0"/>
                      </a:lnTo>
                      <a:lnTo>
                        <a:pt x="0" y="181"/>
                      </a:lnTo>
                      <a:lnTo>
                        <a:pt x="36" y="201"/>
                      </a:lnTo>
                      <a:lnTo>
                        <a:pt x="166" y="273"/>
                      </a:lnTo>
                      <a:lnTo>
                        <a:pt x="164" y="274"/>
                      </a:lnTo>
                      <a:lnTo>
                        <a:pt x="164" y="274"/>
                      </a:lnTo>
                      <a:lnTo>
                        <a:pt x="164" y="274"/>
                      </a:lnTo>
                      <a:lnTo>
                        <a:pt x="3" y="362"/>
                      </a:lnTo>
                      <a:lnTo>
                        <a:pt x="164" y="448"/>
                      </a:lnTo>
                      <a:lnTo>
                        <a:pt x="164" y="666"/>
                      </a:lnTo>
                      <a:lnTo>
                        <a:pt x="500" y="833"/>
                      </a:lnTo>
                      <a:lnTo>
                        <a:pt x="836" y="666"/>
                      </a:lnTo>
                      <a:lnTo>
                        <a:pt x="836" y="449"/>
                      </a:lnTo>
                      <a:lnTo>
                        <a:pt x="998" y="362"/>
                      </a:lnTo>
                      <a:lnTo>
                        <a:pt x="837" y="274"/>
                      </a:lnTo>
                      <a:lnTo>
                        <a:pt x="1000" y="184"/>
                      </a:lnTo>
                      <a:close/>
                      <a:moveTo>
                        <a:pt x="93" y="182"/>
                      </a:moveTo>
                      <a:lnTo>
                        <a:pt x="334" y="51"/>
                      </a:lnTo>
                      <a:lnTo>
                        <a:pt x="453" y="116"/>
                      </a:lnTo>
                      <a:lnTo>
                        <a:pt x="210" y="246"/>
                      </a:lnTo>
                      <a:lnTo>
                        <a:pt x="93" y="182"/>
                      </a:lnTo>
                      <a:close/>
                      <a:moveTo>
                        <a:pt x="340" y="492"/>
                      </a:moveTo>
                      <a:lnTo>
                        <a:pt x="97" y="362"/>
                      </a:lnTo>
                      <a:lnTo>
                        <a:pt x="216" y="297"/>
                      </a:lnTo>
                      <a:lnTo>
                        <a:pt x="459" y="428"/>
                      </a:lnTo>
                      <a:lnTo>
                        <a:pt x="340" y="492"/>
                      </a:lnTo>
                      <a:close/>
                      <a:moveTo>
                        <a:pt x="666" y="53"/>
                      </a:moveTo>
                      <a:lnTo>
                        <a:pt x="906" y="184"/>
                      </a:lnTo>
                      <a:lnTo>
                        <a:pt x="790" y="249"/>
                      </a:lnTo>
                      <a:lnTo>
                        <a:pt x="547" y="118"/>
                      </a:lnTo>
                      <a:lnTo>
                        <a:pt x="666" y="53"/>
                      </a:lnTo>
                      <a:close/>
                      <a:moveTo>
                        <a:pt x="903" y="362"/>
                      </a:moveTo>
                      <a:lnTo>
                        <a:pt x="660" y="492"/>
                      </a:lnTo>
                      <a:lnTo>
                        <a:pt x="544" y="428"/>
                      </a:lnTo>
                      <a:lnTo>
                        <a:pt x="784" y="297"/>
                      </a:lnTo>
                      <a:lnTo>
                        <a:pt x="903" y="362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453" name="Megaphone2">
                <a:extLst>
                  <a:ext uri="{FF2B5EF4-FFF2-40B4-BE49-F238E27FC236}">
                    <a16:creationId xmlns="" xmlns:a16="http://schemas.microsoft.com/office/drawing/2014/main" id="{DFC30901-D3C1-4325-9B0A-92750FCFA503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7"/>
                </p:custDataLst>
              </p:nvPr>
            </p:nvGrpSpPr>
            <p:grpSpPr bwMode="auto">
              <a:xfrm>
                <a:off x="8101157" y="4486596"/>
                <a:ext cx="300188" cy="310106"/>
                <a:chOff x="27" y="8"/>
                <a:chExt cx="454" cy="469"/>
              </a:xfrm>
              <a:solidFill>
                <a:schemeClr val="bg1"/>
              </a:solidFill>
            </p:grpSpPr>
            <p:sp>
              <p:nvSpPr>
                <p:cNvPr id="454" name="Megaphone2">
                  <a:extLst>
                    <a:ext uri="{FF2B5EF4-FFF2-40B4-BE49-F238E27FC236}">
                      <a16:creationId xmlns="" xmlns:a16="http://schemas.microsoft.com/office/drawing/2014/main" id="{B9E814DC-E64D-416F-A040-7AE80659C319}"/>
                    </a:ext>
                  </a:extLst>
                </p:cNvPr>
                <p:cNvSpPr>
                  <a:spLocks/>
                </p:cNvSpPr>
                <p:nvPr>
                  <p:custDataLst>
                    <p:tags r:id="rId22"/>
                  </p:custDataLst>
                </p:nvPr>
              </p:nvSpPr>
              <p:spPr bwMode="auto">
                <a:xfrm>
                  <a:off x="105" y="202"/>
                  <a:ext cx="1" cy="0"/>
                </a:xfrm>
                <a:custGeom>
                  <a:avLst/>
                  <a:gdLst>
                    <a:gd name="T0" fmla="*/ 3 w 3"/>
                    <a:gd name="T1" fmla="*/ 0 h 1"/>
                    <a:gd name="T2" fmla="*/ 1 w 3"/>
                    <a:gd name="T3" fmla="*/ 0 h 1"/>
                    <a:gd name="T4" fmla="*/ 0 w 3"/>
                    <a:gd name="T5" fmla="*/ 1 h 1"/>
                    <a:gd name="T6" fmla="*/ 3 w 3"/>
                    <a:gd name="T7" fmla="*/ 0 h 1"/>
                    <a:gd name="T8" fmla="*/ 3 w 3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lnTo>
                        <a:pt x="1" y="0"/>
                      </a:ln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1" y="1"/>
                        <a:pt x="2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55" name="Megaphone2">
                  <a:extLst>
                    <a:ext uri="{FF2B5EF4-FFF2-40B4-BE49-F238E27FC236}">
                      <a16:creationId xmlns="" xmlns:a16="http://schemas.microsoft.com/office/drawing/2014/main" id="{768D7734-CD7E-4B27-ABC5-86AE958B1D7D}"/>
                    </a:ext>
                  </a:extLst>
                </p:cNvPr>
                <p:cNvSpPr>
                  <a:spLocks noEditPoints="1"/>
                </p:cNvSpPr>
                <p:nvPr>
                  <p:custDataLst>
                    <p:tags r:id="rId23"/>
                  </p:custDataLst>
                </p:nvPr>
              </p:nvSpPr>
              <p:spPr bwMode="auto">
                <a:xfrm>
                  <a:off x="34" y="8"/>
                  <a:ext cx="447" cy="469"/>
                </a:xfrm>
                <a:custGeom>
                  <a:avLst/>
                  <a:gdLst>
                    <a:gd name="T0" fmla="*/ 1139 w 1192"/>
                    <a:gd name="T1" fmla="*/ 461 h 1248"/>
                    <a:gd name="T2" fmla="*/ 881 w 1192"/>
                    <a:gd name="T3" fmla="*/ 18 h 1248"/>
                    <a:gd name="T4" fmla="*/ 801 w 1192"/>
                    <a:gd name="T5" fmla="*/ 146 h 1248"/>
                    <a:gd name="T6" fmla="*/ 219 w 1192"/>
                    <a:gd name="T7" fmla="*/ 507 h 1248"/>
                    <a:gd name="T8" fmla="*/ 193 w 1192"/>
                    <a:gd name="T9" fmla="*/ 516 h 1248"/>
                    <a:gd name="T10" fmla="*/ 203 w 1192"/>
                    <a:gd name="T11" fmla="*/ 864 h 1248"/>
                    <a:gd name="T12" fmla="*/ 203 w 1192"/>
                    <a:gd name="T13" fmla="*/ 864 h 1248"/>
                    <a:gd name="T14" fmla="*/ 208 w 1192"/>
                    <a:gd name="T15" fmla="*/ 865 h 1248"/>
                    <a:gd name="T16" fmla="*/ 305 w 1192"/>
                    <a:gd name="T17" fmla="*/ 901 h 1248"/>
                    <a:gd name="T18" fmla="*/ 370 w 1192"/>
                    <a:gd name="T19" fmla="*/ 1118 h 1248"/>
                    <a:gd name="T20" fmla="*/ 559 w 1192"/>
                    <a:gd name="T21" fmla="*/ 1225 h 1248"/>
                    <a:gd name="T22" fmla="*/ 554 w 1192"/>
                    <a:gd name="T23" fmla="*/ 1178 h 1248"/>
                    <a:gd name="T24" fmla="*/ 561 w 1192"/>
                    <a:gd name="T25" fmla="*/ 1156 h 1248"/>
                    <a:gd name="T26" fmla="*/ 533 w 1192"/>
                    <a:gd name="T27" fmla="*/ 1089 h 1248"/>
                    <a:gd name="T28" fmla="*/ 524 w 1192"/>
                    <a:gd name="T29" fmla="*/ 1026 h 1248"/>
                    <a:gd name="T30" fmla="*/ 484 w 1192"/>
                    <a:gd name="T31" fmla="*/ 973 h 1248"/>
                    <a:gd name="T32" fmla="*/ 485 w 1192"/>
                    <a:gd name="T33" fmla="*/ 925 h 1248"/>
                    <a:gd name="T34" fmla="*/ 480 w 1192"/>
                    <a:gd name="T35" fmla="*/ 835 h 1248"/>
                    <a:gd name="T36" fmla="*/ 1004 w 1192"/>
                    <a:gd name="T37" fmla="*/ 945 h 1248"/>
                    <a:gd name="T38" fmla="*/ 1023 w 1192"/>
                    <a:gd name="T39" fmla="*/ 958 h 1248"/>
                    <a:gd name="T40" fmla="*/ 1024 w 1192"/>
                    <a:gd name="T41" fmla="*/ 959 h 1248"/>
                    <a:gd name="T42" fmla="*/ 1037 w 1192"/>
                    <a:gd name="T43" fmla="*/ 965 h 1248"/>
                    <a:gd name="T44" fmla="*/ 1074 w 1192"/>
                    <a:gd name="T45" fmla="*/ 969 h 1248"/>
                    <a:gd name="T46" fmla="*/ 1139 w 1192"/>
                    <a:gd name="T47" fmla="*/ 461 h 1248"/>
                    <a:gd name="T48" fmla="*/ 866 w 1192"/>
                    <a:gd name="T49" fmla="*/ 856 h 1248"/>
                    <a:gd name="T50" fmla="*/ 751 w 1192"/>
                    <a:gd name="T51" fmla="*/ 832 h 1248"/>
                    <a:gd name="T52" fmla="*/ 512 w 1192"/>
                    <a:gd name="T53" fmla="*/ 819 h 1248"/>
                    <a:gd name="T54" fmla="*/ 433 w 1192"/>
                    <a:gd name="T55" fmla="*/ 783 h 1248"/>
                    <a:gd name="T56" fmla="*/ 378 w 1192"/>
                    <a:gd name="T57" fmla="*/ 726 h 1248"/>
                    <a:gd name="T58" fmla="*/ 370 w 1192"/>
                    <a:gd name="T59" fmla="*/ 538 h 1248"/>
                    <a:gd name="T60" fmla="*/ 430 w 1192"/>
                    <a:gd name="T61" fmla="*/ 457 h 1248"/>
                    <a:gd name="T62" fmla="*/ 550 w 1192"/>
                    <a:gd name="T63" fmla="*/ 389 h 1248"/>
                    <a:gd name="T64" fmla="*/ 737 w 1192"/>
                    <a:gd name="T65" fmla="*/ 253 h 1248"/>
                    <a:gd name="T66" fmla="*/ 809 w 1192"/>
                    <a:gd name="T67" fmla="*/ 160 h 1248"/>
                    <a:gd name="T68" fmla="*/ 808 w 1192"/>
                    <a:gd name="T69" fmla="*/ 174 h 1248"/>
                    <a:gd name="T70" fmla="*/ 808 w 1192"/>
                    <a:gd name="T71" fmla="*/ 171 h 1248"/>
                    <a:gd name="T72" fmla="*/ 801 w 1192"/>
                    <a:gd name="T73" fmla="*/ 231 h 1248"/>
                    <a:gd name="T74" fmla="*/ 929 w 1192"/>
                    <a:gd name="T75" fmla="*/ 833 h 1248"/>
                    <a:gd name="T76" fmla="*/ 956 w 1192"/>
                    <a:gd name="T77" fmla="*/ 883 h 1248"/>
                    <a:gd name="T78" fmla="*/ 954 w 1192"/>
                    <a:gd name="T79" fmla="*/ 880 h 1248"/>
                    <a:gd name="T80" fmla="*/ 962 w 1192"/>
                    <a:gd name="T81" fmla="*/ 895 h 1248"/>
                    <a:gd name="T82" fmla="*/ 866 w 1192"/>
                    <a:gd name="T83" fmla="*/ 856 h 1248"/>
                    <a:gd name="T84" fmla="*/ 988 w 1192"/>
                    <a:gd name="T85" fmla="*/ 800 h 1248"/>
                    <a:gd name="T86" fmla="*/ 978 w 1192"/>
                    <a:gd name="T87" fmla="*/ 799 h 1248"/>
                    <a:gd name="T88" fmla="*/ 978 w 1192"/>
                    <a:gd name="T89" fmla="*/ 799 h 1248"/>
                    <a:gd name="T90" fmla="*/ 847 w 1192"/>
                    <a:gd name="T91" fmla="*/ 542 h 1248"/>
                    <a:gd name="T92" fmla="*/ 851 w 1192"/>
                    <a:gd name="T93" fmla="*/ 255 h 1248"/>
                    <a:gd name="T94" fmla="*/ 861 w 1192"/>
                    <a:gd name="T95" fmla="*/ 256 h 1248"/>
                    <a:gd name="T96" fmla="*/ 861 w 1192"/>
                    <a:gd name="T97" fmla="*/ 256 h 1248"/>
                    <a:gd name="T98" fmla="*/ 992 w 1192"/>
                    <a:gd name="T99" fmla="*/ 512 h 1248"/>
                    <a:gd name="T100" fmla="*/ 988 w 1192"/>
                    <a:gd name="T101" fmla="*/ 800 h 12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192" h="1248">
                      <a:moveTo>
                        <a:pt x="1139" y="461"/>
                      </a:moveTo>
                      <a:cubicBezTo>
                        <a:pt x="1086" y="198"/>
                        <a:pt x="971" y="0"/>
                        <a:pt x="881" y="18"/>
                      </a:cubicBezTo>
                      <a:cubicBezTo>
                        <a:pt x="843" y="25"/>
                        <a:pt x="815" y="73"/>
                        <a:pt x="801" y="146"/>
                      </a:cubicBezTo>
                      <a:cubicBezTo>
                        <a:pt x="754" y="199"/>
                        <a:pt x="564" y="396"/>
                        <a:pt x="219" y="507"/>
                      </a:cubicBezTo>
                      <a:cubicBezTo>
                        <a:pt x="211" y="510"/>
                        <a:pt x="202" y="513"/>
                        <a:pt x="193" y="516"/>
                      </a:cubicBezTo>
                      <a:cubicBezTo>
                        <a:pt x="0" y="700"/>
                        <a:pt x="203" y="864"/>
                        <a:pt x="203" y="864"/>
                      </a:cubicBezTo>
                      <a:lnTo>
                        <a:pt x="203" y="864"/>
                      </a:lnTo>
                      <a:cubicBezTo>
                        <a:pt x="205" y="864"/>
                        <a:pt x="206" y="864"/>
                        <a:pt x="208" y="865"/>
                      </a:cubicBezTo>
                      <a:cubicBezTo>
                        <a:pt x="236" y="867"/>
                        <a:pt x="291" y="871"/>
                        <a:pt x="305" y="901"/>
                      </a:cubicBezTo>
                      <a:cubicBezTo>
                        <a:pt x="305" y="901"/>
                        <a:pt x="362" y="976"/>
                        <a:pt x="370" y="1118"/>
                      </a:cubicBezTo>
                      <a:cubicBezTo>
                        <a:pt x="370" y="1118"/>
                        <a:pt x="390" y="1248"/>
                        <a:pt x="559" y="1225"/>
                      </a:cubicBezTo>
                      <a:cubicBezTo>
                        <a:pt x="559" y="1225"/>
                        <a:pt x="583" y="1193"/>
                        <a:pt x="554" y="1178"/>
                      </a:cubicBezTo>
                      <a:cubicBezTo>
                        <a:pt x="554" y="1178"/>
                        <a:pt x="545" y="1151"/>
                        <a:pt x="561" y="1156"/>
                      </a:cubicBezTo>
                      <a:cubicBezTo>
                        <a:pt x="561" y="1156"/>
                        <a:pt x="578" y="1103"/>
                        <a:pt x="533" y="1089"/>
                      </a:cubicBezTo>
                      <a:lnTo>
                        <a:pt x="524" y="1026"/>
                      </a:lnTo>
                      <a:cubicBezTo>
                        <a:pt x="524" y="1026"/>
                        <a:pt x="497" y="1004"/>
                        <a:pt x="484" y="973"/>
                      </a:cubicBezTo>
                      <a:lnTo>
                        <a:pt x="485" y="925"/>
                      </a:lnTo>
                      <a:cubicBezTo>
                        <a:pt x="485" y="925"/>
                        <a:pt x="424" y="888"/>
                        <a:pt x="480" y="835"/>
                      </a:cubicBezTo>
                      <a:cubicBezTo>
                        <a:pt x="480" y="835"/>
                        <a:pt x="826" y="828"/>
                        <a:pt x="1004" y="945"/>
                      </a:cubicBezTo>
                      <a:cubicBezTo>
                        <a:pt x="1010" y="950"/>
                        <a:pt x="1016" y="955"/>
                        <a:pt x="1023" y="958"/>
                      </a:cubicBezTo>
                      <a:cubicBezTo>
                        <a:pt x="1023" y="958"/>
                        <a:pt x="1023" y="959"/>
                        <a:pt x="1024" y="959"/>
                      </a:cubicBezTo>
                      <a:cubicBezTo>
                        <a:pt x="1028" y="962"/>
                        <a:pt x="1032" y="964"/>
                        <a:pt x="1037" y="965"/>
                      </a:cubicBezTo>
                      <a:cubicBezTo>
                        <a:pt x="1050" y="970"/>
                        <a:pt x="1062" y="972"/>
                        <a:pt x="1074" y="969"/>
                      </a:cubicBezTo>
                      <a:cubicBezTo>
                        <a:pt x="1163" y="951"/>
                        <a:pt x="1192" y="724"/>
                        <a:pt x="1139" y="461"/>
                      </a:cubicBezTo>
                      <a:close/>
                      <a:moveTo>
                        <a:pt x="866" y="856"/>
                      </a:moveTo>
                      <a:cubicBezTo>
                        <a:pt x="828" y="845"/>
                        <a:pt x="790" y="838"/>
                        <a:pt x="751" y="832"/>
                      </a:cubicBezTo>
                      <a:cubicBezTo>
                        <a:pt x="673" y="821"/>
                        <a:pt x="592" y="817"/>
                        <a:pt x="512" y="819"/>
                      </a:cubicBezTo>
                      <a:cubicBezTo>
                        <a:pt x="490" y="819"/>
                        <a:pt x="452" y="795"/>
                        <a:pt x="433" y="783"/>
                      </a:cubicBezTo>
                      <a:cubicBezTo>
                        <a:pt x="411" y="768"/>
                        <a:pt x="392" y="749"/>
                        <a:pt x="378" y="726"/>
                      </a:cubicBezTo>
                      <a:cubicBezTo>
                        <a:pt x="342" y="668"/>
                        <a:pt x="340" y="599"/>
                        <a:pt x="370" y="538"/>
                      </a:cubicBezTo>
                      <a:cubicBezTo>
                        <a:pt x="385" y="507"/>
                        <a:pt x="402" y="477"/>
                        <a:pt x="430" y="457"/>
                      </a:cubicBezTo>
                      <a:cubicBezTo>
                        <a:pt x="468" y="431"/>
                        <a:pt x="511" y="413"/>
                        <a:pt x="550" y="389"/>
                      </a:cubicBezTo>
                      <a:cubicBezTo>
                        <a:pt x="615" y="347"/>
                        <a:pt x="677" y="302"/>
                        <a:pt x="737" y="253"/>
                      </a:cubicBezTo>
                      <a:cubicBezTo>
                        <a:pt x="749" y="243"/>
                        <a:pt x="807" y="177"/>
                        <a:pt x="809" y="160"/>
                      </a:cubicBezTo>
                      <a:cubicBezTo>
                        <a:pt x="809" y="165"/>
                        <a:pt x="808" y="169"/>
                        <a:pt x="808" y="174"/>
                      </a:cubicBezTo>
                      <a:cubicBezTo>
                        <a:pt x="808" y="173"/>
                        <a:pt x="808" y="172"/>
                        <a:pt x="808" y="171"/>
                      </a:cubicBezTo>
                      <a:cubicBezTo>
                        <a:pt x="805" y="191"/>
                        <a:pt x="803" y="211"/>
                        <a:pt x="801" y="231"/>
                      </a:cubicBezTo>
                      <a:cubicBezTo>
                        <a:pt x="781" y="485"/>
                        <a:pt x="877" y="724"/>
                        <a:pt x="929" y="833"/>
                      </a:cubicBezTo>
                      <a:cubicBezTo>
                        <a:pt x="945" y="865"/>
                        <a:pt x="956" y="883"/>
                        <a:pt x="956" y="883"/>
                      </a:cubicBezTo>
                      <a:cubicBezTo>
                        <a:pt x="955" y="882"/>
                        <a:pt x="954" y="881"/>
                        <a:pt x="954" y="880"/>
                      </a:cubicBezTo>
                      <a:cubicBezTo>
                        <a:pt x="959" y="890"/>
                        <a:pt x="962" y="895"/>
                        <a:pt x="962" y="895"/>
                      </a:cubicBezTo>
                      <a:cubicBezTo>
                        <a:pt x="948" y="874"/>
                        <a:pt x="888" y="862"/>
                        <a:pt x="866" y="856"/>
                      </a:cubicBezTo>
                      <a:close/>
                      <a:moveTo>
                        <a:pt x="988" y="800"/>
                      </a:moveTo>
                      <a:cubicBezTo>
                        <a:pt x="985" y="800"/>
                        <a:pt x="982" y="800"/>
                        <a:pt x="978" y="799"/>
                      </a:cubicBezTo>
                      <a:cubicBezTo>
                        <a:pt x="978" y="799"/>
                        <a:pt x="978" y="799"/>
                        <a:pt x="978" y="799"/>
                      </a:cubicBezTo>
                      <a:cubicBezTo>
                        <a:pt x="941" y="807"/>
                        <a:pt x="883" y="693"/>
                        <a:pt x="847" y="542"/>
                      </a:cubicBezTo>
                      <a:cubicBezTo>
                        <a:pt x="812" y="392"/>
                        <a:pt x="814" y="263"/>
                        <a:pt x="851" y="255"/>
                      </a:cubicBezTo>
                      <a:cubicBezTo>
                        <a:pt x="854" y="254"/>
                        <a:pt x="857" y="255"/>
                        <a:pt x="861" y="256"/>
                      </a:cubicBezTo>
                      <a:cubicBezTo>
                        <a:pt x="861" y="256"/>
                        <a:pt x="861" y="256"/>
                        <a:pt x="861" y="256"/>
                      </a:cubicBezTo>
                      <a:cubicBezTo>
                        <a:pt x="898" y="247"/>
                        <a:pt x="956" y="362"/>
                        <a:pt x="992" y="512"/>
                      </a:cubicBezTo>
                      <a:cubicBezTo>
                        <a:pt x="1027" y="662"/>
                        <a:pt x="1025" y="791"/>
                        <a:pt x="988" y="80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56" name="Megaphone2">
                  <a:extLst>
                    <a:ext uri="{FF2B5EF4-FFF2-40B4-BE49-F238E27FC236}">
                      <a16:creationId xmlns="" xmlns:a16="http://schemas.microsoft.com/office/drawing/2014/main" id="{91C900B1-9195-471F-A0A2-50461E100B37}"/>
                    </a:ext>
                  </a:extLst>
                </p:cNvPr>
                <p:cNvSpPr>
                  <a:spLocks/>
                </p:cNvSpPr>
                <p:nvPr>
                  <p:custDataLst>
                    <p:tags r:id="rId24"/>
                  </p:custDataLst>
                </p:nvPr>
              </p:nvSpPr>
              <p:spPr bwMode="auto">
                <a:xfrm>
                  <a:off x="27" y="199"/>
                  <a:ext cx="84" cy="141"/>
                </a:xfrm>
                <a:custGeom>
                  <a:avLst/>
                  <a:gdLst>
                    <a:gd name="T0" fmla="*/ 210 w 225"/>
                    <a:gd name="T1" fmla="*/ 356 h 376"/>
                    <a:gd name="T2" fmla="*/ 82 w 225"/>
                    <a:gd name="T3" fmla="*/ 182 h 376"/>
                    <a:gd name="T4" fmla="*/ 202 w 225"/>
                    <a:gd name="T5" fmla="*/ 9 h 376"/>
                    <a:gd name="T6" fmla="*/ 154 w 225"/>
                    <a:gd name="T7" fmla="*/ 0 h 376"/>
                    <a:gd name="T8" fmla="*/ 0 w 225"/>
                    <a:gd name="T9" fmla="*/ 188 h 376"/>
                    <a:gd name="T10" fmla="*/ 154 w 225"/>
                    <a:gd name="T11" fmla="*/ 376 h 376"/>
                    <a:gd name="T12" fmla="*/ 225 w 225"/>
                    <a:gd name="T13" fmla="*/ 354 h 376"/>
                    <a:gd name="T14" fmla="*/ 210 w 225"/>
                    <a:gd name="T15" fmla="*/ 356 h 3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25" h="376">
                      <a:moveTo>
                        <a:pt x="210" y="356"/>
                      </a:moveTo>
                      <a:cubicBezTo>
                        <a:pt x="139" y="356"/>
                        <a:pt x="82" y="278"/>
                        <a:pt x="82" y="182"/>
                      </a:cubicBezTo>
                      <a:cubicBezTo>
                        <a:pt x="82" y="90"/>
                        <a:pt x="135" y="15"/>
                        <a:pt x="202" y="9"/>
                      </a:cubicBezTo>
                      <a:cubicBezTo>
                        <a:pt x="187" y="3"/>
                        <a:pt x="170" y="0"/>
                        <a:pt x="154" y="0"/>
                      </a:cubicBezTo>
                      <a:cubicBezTo>
                        <a:pt x="69" y="0"/>
                        <a:pt x="0" y="84"/>
                        <a:pt x="0" y="188"/>
                      </a:cubicBezTo>
                      <a:cubicBezTo>
                        <a:pt x="0" y="292"/>
                        <a:pt x="69" y="376"/>
                        <a:pt x="154" y="376"/>
                      </a:cubicBezTo>
                      <a:cubicBezTo>
                        <a:pt x="179" y="376"/>
                        <a:pt x="204" y="368"/>
                        <a:pt x="225" y="354"/>
                      </a:cubicBezTo>
                      <a:cubicBezTo>
                        <a:pt x="220" y="355"/>
                        <a:pt x="215" y="356"/>
                        <a:pt x="210" y="356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457" name="Tools3">
                <a:extLst>
                  <a:ext uri="{FF2B5EF4-FFF2-40B4-BE49-F238E27FC236}">
                    <a16:creationId xmlns="" xmlns:a16="http://schemas.microsoft.com/office/drawing/2014/main" id="{43852344-5C85-46B3-9889-24C40B3C8D07}"/>
                  </a:ext>
                </a:extLst>
              </p:cNvPr>
              <p:cNvSpPr>
                <a:spLocks noChangeAspect="1" noEditPoint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3798033" y="4548821"/>
                <a:ext cx="228804" cy="223592"/>
              </a:xfrm>
              <a:custGeom>
                <a:avLst/>
                <a:gdLst>
                  <a:gd name="T0" fmla="*/ 250 w 2000"/>
                  <a:gd name="T1" fmla="*/ 0 h 1950"/>
                  <a:gd name="T2" fmla="*/ 225 w 2000"/>
                  <a:gd name="T3" fmla="*/ 50 h 1950"/>
                  <a:gd name="T4" fmla="*/ 488 w 2000"/>
                  <a:gd name="T5" fmla="*/ 200 h 1950"/>
                  <a:gd name="T6" fmla="*/ 325 w 2000"/>
                  <a:gd name="T7" fmla="*/ 488 h 1950"/>
                  <a:gd name="T8" fmla="*/ 63 w 2000"/>
                  <a:gd name="T9" fmla="*/ 338 h 1950"/>
                  <a:gd name="T10" fmla="*/ 50 w 2000"/>
                  <a:gd name="T11" fmla="*/ 363 h 1950"/>
                  <a:gd name="T12" fmla="*/ 488 w 2000"/>
                  <a:gd name="T13" fmla="*/ 675 h 1950"/>
                  <a:gd name="T14" fmla="*/ 838 w 2000"/>
                  <a:gd name="T15" fmla="*/ 963 h 1950"/>
                  <a:gd name="T16" fmla="*/ 1038 w 2000"/>
                  <a:gd name="T17" fmla="*/ 763 h 1950"/>
                  <a:gd name="T18" fmla="*/ 713 w 2000"/>
                  <a:gd name="T19" fmla="*/ 375 h 1950"/>
                  <a:gd name="T20" fmla="*/ 250 w 2000"/>
                  <a:gd name="T21" fmla="*/ 0 h 1950"/>
                  <a:gd name="T22" fmla="*/ 1813 w 2000"/>
                  <a:gd name="T23" fmla="*/ 63 h 1950"/>
                  <a:gd name="T24" fmla="*/ 1563 w 2000"/>
                  <a:gd name="T25" fmla="*/ 238 h 1950"/>
                  <a:gd name="T26" fmla="*/ 1538 w 2000"/>
                  <a:gd name="T27" fmla="*/ 338 h 1950"/>
                  <a:gd name="T28" fmla="*/ 813 w 2000"/>
                  <a:gd name="T29" fmla="*/ 1063 h 1950"/>
                  <a:gd name="T30" fmla="*/ 713 w 2000"/>
                  <a:gd name="T31" fmla="*/ 1000 h 1950"/>
                  <a:gd name="T32" fmla="*/ 663 w 2000"/>
                  <a:gd name="T33" fmla="*/ 1050 h 1950"/>
                  <a:gd name="T34" fmla="*/ 413 w 2000"/>
                  <a:gd name="T35" fmla="*/ 1275 h 1950"/>
                  <a:gd name="T36" fmla="*/ 0 w 2000"/>
                  <a:gd name="T37" fmla="*/ 1688 h 1950"/>
                  <a:gd name="T38" fmla="*/ 263 w 2000"/>
                  <a:gd name="T39" fmla="*/ 1950 h 1950"/>
                  <a:gd name="T40" fmla="*/ 675 w 2000"/>
                  <a:gd name="T41" fmla="*/ 1538 h 1950"/>
                  <a:gd name="T42" fmla="*/ 900 w 2000"/>
                  <a:gd name="T43" fmla="*/ 1288 h 1950"/>
                  <a:gd name="T44" fmla="*/ 950 w 2000"/>
                  <a:gd name="T45" fmla="*/ 1238 h 1950"/>
                  <a:gd name="T46" fmla="*/ 888 w 2000"/>
                  <a:gd name="T47" fmla="*/ 1138 h 1950"/>
                  <a:gd name="T48" fmla="*/ 1613 w 2000"/>
                  <a:gd name="T49" fmla="*/ 413 h 1950"/>
                  <a:gd name="T50" fmla="*/ 1713 w 2000"/>
                  <a:gd name="T51" fmla="*/ 388 h 1950"/>
                  <a:gd name="T52" fmla="*/ 1888 w 2000"/>
                  <a:gd name="T53" fmla="*/ 138 h 1950"/>
                  <a:gd name="T54" fmla="*/ 1813 w 2000"/>
                  <a:gd name="T55" fmla="*/ 63 h 1950"/>
                  <a:gd name="T56" fmla="*/ 1188 w 2000"/>
                  <a:gd name="T57" fmla="*/ 913 h 1950"/>
                  <a:gd name="T58" fmla="*/ 988 w 2000"/>
                  <a:gd name="T59" fmla="*/ 1113 h 1950"/>
                  <a:gd name="T60" fmla="*/ 1338 w 2000"/>
                  <a:gd name="T61" fmla="*/ 1525 h 1950"/>
                  <a:gd name="T62" fmla="*/ 1800 w 2000"/>
                  <a:gd name="T63" fmla="*/ 1900 h 1950"/>
                  <a:gd name="T64" fmla="*/ 1825 w 2000"/>
                  <a:gd name="T65" fmla="*/ 1850 h 1950"/>
                  <a:gd name="T66" fmla="*/ 1563 w 2000"/>
                  <a:gd name="T67" fmla="*/ 1700 h 1950"/>
                  <a:gd name="T68" fmla="*/ 1725 w 2000"/>
                  <a:gd name="T69" fmla="*/ 1413 h 1950"/>
                  <a:gd name="T70" fmla="*/ 1988 w 2000"/>
                  <a:gd name="T71" fmla="*/ 1563 h 1950"/>
                  <a:gd name="T72" fmla="*/ 2000 w 2000"/>
                  <a:gd name="T73" fmla="*/ 1538 h 1950"/>
                  <a:gd name="T74" fmla="*/ 1563 w 2000"/>
                  <a:gd name="T75" fmla="*/ 1225 h 1950"/>
                  <a:gd name="T76" fmla="*/ 1188 w 2000"/>
                  <a:gd name="T77" fmla="*/ 913 h 19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000" h="1950">
                    <a:moveTo>
                      <a:pt x="250" y="0"/>
                    </a:moveTo>
                    <a:lnTo>
                      <a:pt x="225" y="50"/>
                    </a:lnTo>
                    <a:lnTo>
                      <a:pt x="488" y="200"/>
                    </a:lnTo>
                    <a:cubicBezTo>
                      <a:pt x="488" y="325"/>
                      <a:pt x="438" y="425"/>
                      <a:pt x="325" y="488"/>
                    </a:cubicBezTo>
                    <a:lnTo>
                      <a:pt x="63" y="338"/>
                    </a:lnTo>
                    <a:lnTo>
                      <a:pt x="50" y="363"/>
                    </a:lnTo>
                    <a:cubicBezTo>
                      <a:pt x="113" y="550"/>
                      <a:pt x="238" y="675"/>
                      <a:pt x="488" y="675"/>
                    </a:cubicBezTo>
                    <a:cubicBezTo>
                      <a:pt x="550" y="675"/>
                      <a:pt x="738" y="863"/>
                      <a:pt x="838" y="963"/>
                    </a:cubicBezTo>
                    <a:lnTo>
                      <a:pt x="1038" y="763"/>
                    </a:lnTo>
                    <a:cubicBezTo>
                      <a:pt x="938" y="663"/>
                      <a:pt x="713" y="438"/>
                      <a:pt x="713" y="375"/>
                    </a:cubicBezTo>
                    <a:cubicBezTo>
                      <a:pt x="713" y="150"/>
                      <a:pt x="650" y="0"/>
                      <a:pt x="250" y="0"/>
                    </a:cubicBezTo>
                    <a:close/>
                    <a:moveTo>
                      <a:pt x="1813" y="63"/>
                    </a:moveTo>
                    <a:lnTo>
                      <a:pt x="1563" y="238"/>
                    </a:lnTo>
                    <a:lnTo>
                      <a:pt x="1538" y="338"/>
                    </a:lnTo>
                    <a:lnTo>
                      <a:pt x="813" y="1063"/>
                    </a:lnTo>
                    <a:lnTo>
                      <a:pt x="713" y="1000"/>
                    </a:lnTo>
                    <a:lnTo>
                      <a:pt x="663" y="1050"/>
                    </a:lnTo>
                    <a:cubicBezTo>
                      <a:pt x="663" y="1200"/>
                      <a:pt x="488" y="1275"/>
                      <a:pt x="413" y="1275"/>
                    </a:cubicBezTo>
                    <a:lnTo>
                      <a:pt x="0" y="1688"/>
                    </a:lnTo>
                    <a:cubicBezTo>
                      <a:pt x="0" y="1813"/>
                      <a:pt x="138" y="1950"/>
                      <a:pt x="263" y="1950"/>
                    </a:cubicBezTo>
                    <a:lnTo>
                      <a:pt x="675" y="1538"/>
                    </a:lnTo>
                    <a:cubicBezTo>
                      <a:pt x="675" y="1463"/>
                      <a:pt x="750" y="1288"/>
                      <a:pt x="900" y="1288"/>
                    </a:cubicBezTo>
                    <a:lnTo>
                      <a:pt x="950" y="1238"/>
                    </a:lnTo>
                    <a:lnTo>
                      <a:pt x="888" y="1138"/>
                    </a:lnTo>
                    <a:lnTo>
                      <a:pt x="1613" y="413"/>
                    </a:lnTo>
                    <a:lnTo>
                      <a:pt x="1713" y="388"/>
                    </a:lnTo>
                    <a:lnTo>
                      <a:pt x="1888" y="138"/>
                    </a:lnTo>
                    <a:lnTo>
                      <a:pt x="1813" y="63"/>
                    </a:lnTo>
                    <a:close/>
                    <a:moveTo>
                      <a:pt x="1188" y="913"/>
                    </a:moveTo>
                    <a:lnTo>
                      <a:pt x="988" y="1113"/>
                    </a:lnTo>
                    <a:cubicBezTo>
                      <a:pt x="1138" y="1263"/>
                      <a:pt x="1338" y="1463"/>
                      <a:pt x="1338" y="1525"/>
                    </a:cubicBezTo>
                    <a:cubicBezTo>
                      <a:pt x="1338" y="1750"/>
                      <a:pt x="1400" y="1900"/>
                      <a:pt x="1800" y="1900"/>
                    </a:cubicBezTo>
                    <a:lnTo>
                      <a:pt x="1825" y="1850"/>
                    </a:lnTo>
                    <a:lnTo>
                      <a:pt x="1563" y="1700"/>
                    </a:lnTo>
                    <a:cubicBezTo>
                      <a:pt x="1563" y="1575"/>
                      <a:pt x="1613" y="1475"/>
                      <a:pt x="1725" y="1413"/>
                    </a:cubicBezTo>
                    <a:lnTo>
                      <a:pt x="1988" y="1563"/>
                    </a:lnTo>
                    <a:lnTo>
                      <a:pt x="2000" y="1538"/>
                    </a:lnTo>
                    <a:cubicBezTo>
                      <a:pt x="1938" y="1350"/>
                      <a:pt x="1813" y="1225"/>
                      <a:pt x="1563" y="1225"/>
                    </a:cubicBezTo>
                    <a:cubicBezTo>
                      <a:pt x="1500" y="1225"/>
                      <a:pt x="1338" y="1063"/>
                      <a:pt x="1188" y="913"/>
                    </a:cubicBez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458" name="Clipboard6">
                <a:extLst>
                  <a:ext uri="{FF2B5EF4-FFF2-40B4-BE49-F238E27FC236}">
                    <a16:creationId xmlns="" xmlns:a16="http://schemas.microsoft.com/office/drawing/2014/main" id="{F134DD79-12C3-424A-A357-17E4CE59410C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9"/>
                </p:custDataLst>
              </p:nvPr>
            </p:nvGrpSpPr>
            <p:grpSpPr bwMode="auto">
              <a:xfrm>
                <a:off x="7233590" y="5399192"/>
                <a:ext cx="216713" cy="310107"/>
                <a:chOff x="2478" y="664"/>
                <a:chExt cx="2648" cy="2784"/>
              </a:xfrm>
              <a:solidFill>
                <a:schemeClr val="bg1"/>
              </a:solidFill>
            </p:grpSpPr>
            <p:sp>
              <p:nvSpPr>
                <p:cNvPr id="459" name="Rectangle 260">
                  <a:extLst>
                    <a:ext uri="{FF2B5EF4-FFF2-40B4-BE49-F238E27FC236}">
                      <a16:creationId xmlns="" xmlns:a16="http://schemas.microsoft.com/office/drawing/2014/main" id="{B7583EF1-429E-4DDE-82CE-6DD07F88D2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41" y="1591"/>
                  <a:ext cx="1322" cy="131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0" name="Freeform 261">
                  <a:extLst>
                    <a:ext uri="{FF2B5EF4-FFF2-40B4-BE49-F238E27FC236}">
                      <a16:creationId xmlns="" xmlns:a16="http://schemas.microsoft.com/office/drawing/2014/main" id="{F71FF048-094E-4772-916A-E19D0DC4CFC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478" y="664"/>
                  <a:ext cx="2648" cy="2784"/>
                </a:xfrm>
                <a:custGeom>
                  <a:avLst/>
                  <a:gdLst>
                    <a:gd name="T0" fmla="*/ 600 w 667"/>
                    <a:gd name="T1" fmla="*/ 633 h 700"/>
                    <a:gd name="T2" fmla="*/ 67 w 667"/>
                    <a:gd name="T3" fmla="*/ 633 h 700"/>
                    <a:gd name="T4" fmla="*/ 67 w 667"/>
                    <a:gd name="T5" fmla="*/ 100 h 700"/>
                    <a:gd name="T6" fmla="*/ 203 w 667"/>
                    <a:gd name="T7" fmla="*/ 100 h 700"/>
                    <a:gd name="T8" fmla="*/ 250 w 667"/>
                    <a:gd name="T9" fmla="*/ 133 h 700"/>
                    <a:gd name="T10" fmla="*/ 417 w 667"/>
                    <a:gd name="T11" fmla="*/ 133 h 700"/>
                    <a:gd name="T12" fmla="*/ 464 w 667"/>
                    <a:gd name="T13" fmla="*/ 100 h 700"/>
                    <a:gd name="T14" fmla="*/ 600 w 667"/>
                    <a:gd name="T15" fmla="*/ 100 h 700"/>
                    <a:gd name="T16" fmla="*/ 600 w 667"/>
                    <a:gd name="T17" fmla="*/ 633 h 700"/>
                    <a:gd name="T18" fmla="*/ 600 w 667"/>
                    <a:gd name="T19" fmla="*/ 33 h 700"/>
                    <a:gd name="T20" fmla="*/ 467 w 667"/>
                    <a:gd name="T21" fmla="*/ 33 h 700"/>
                    <a:gd name="T22" fmla="*/ 467 w 667"/>
                    <a:gd name="T23" fmla="*/ 0 h 700"/>
                    <a:gd name="T24" fmla="*/ 200 w 667"/>
                    <a:gd name="T25" fmla="*/ 0 h 700"/>
                    <a:gd name="T26" fmla="*/ 200 w 667"/>
                    <a:gd name="T27" fmla="*/ 33 h 700"/>
                    <a:gd name="T28" fmla="*/ 67 w 667"/>
                    <a:gd name="T29" fmla="*/ 33 h 700"/>
                    <a:gd name="T30" fmla="*/ 0 w 667"/>
                    <a:gd name="T31" fmla="*/ 100 h 700"/>
                    <a:gd name="T32" fmla="*/ 0 w 667"/>
                    <a:gd name="T33" fmla="*/ 191 h 700"/>
                    <a:gd name="T34" fmla="*/ 0 w 667"/>
                    <a:gd name="T35" fmla="*/ 633 h 700"/>
                    <a:gd name="T36" fmla="*/ 67 w 667"/>
                    <a:gd name="T37" fmla="*/ 700 h 700"/>
                    <a:gd name="T38" fmla="*/ 600 w 667"/>
                    <a:gd name="T39" fmla="*/ 700 h 700"/>
                    <a:gd name="T40" fmla="*/ 667 w 667"/>
                    <a:gd name="T41" fmla="*/ 633 h 700"/>
                    <a:gd name="T42" fmla="*/ 667 w 667"/>
                    <a:gd name="T43" fmla="*/ 191 h 700"/>
                    <a:gd name="T44" fmla="*/ 667 w 667"/>
                    <a:gd name="T45" fmla="*/ 100 h 700"/>
                    <a:gd name="T46" fmla="*/ 600 w 667"/>
                    <a:gd name="T47" fmla="*/ 33 h 7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667" h="700">
                      <a:moveTo>
                        <a:pt x="600" y="633"/>
                      </a:moveTo>
                      <a:lnTo>
                        <a:pt x="67" y="633"/>
                      </a:lnTo>
                      <a:lnTo>
                        <a:pt x="67" y="100"/>
                      </a:lnTo>
                      <a:lnTo>
                        <a:pt x="203" y="100"/>
                      </a:lnTo>
                      <a:cubicBezTo>
                        <a:pt x="210" y="119"/>
                        <a:pt x="228" y="133"/>
                        <a:pt x="250" y="133"/>
                      </a:cubicBezTo>
                      <a:lnTo>
                        <a:pt x="417" y="133"/>
                      </a:lnTo>
                      <a:cubicBezTo>
                        <a:pt x="438" y="133"/>
                        <a:pt x="457" y="119"/>
                        <a:pt x="464" y="100"/>
                      </a:cubicBezTo>
                      <a:lnTo>
                        <a:pt x="600" y="100"/>
                      </a:lnTo>
                      <a:lnTo>
                        <a:pt x="600" y="633"/>
                      </a:lnTo>
                      <a:close/>
                      <a:moveTo>
                        <a:pt x="600" y="33"/>
                      </a:moveTo>
                      <a:lnTo>
                        <a:pt x="467" y="33"/>
                      </a:lnTo>
                      <a:lnTo>
                        <a:pt x="467" y="0"/>
                      </a:lnTo>
                      <a:lnTo>
                        <a:pt x="200" y="0"/>
                      </a:lnTo>
                      <a:lnTo>
                        <a:pt x="200" y="33"/>
                      </a:lnTo>
                      <a:lnTo>
                        <a:pt x="67" y="33"/>
                      </a:lnTo>
                      <a:cubicBezTo>
                        <a:pt x="30" y="33"/>
                        <a:pt x="0" y="63"/>
                        <a:pt x="0" y="100"/>
                      </a:cubicBezTo>
                      <a:lnTo>
                        <a:pt x="0" y="191"/>
                      </a:lnTo>
                      <a:lnTo>
                        <a:pt x="0" y="633"/>
                      </a:lnTo>
                      <a:cubicBezTo>
                        <a:pt x="0" y="670"/>
                        <a:pt x="30" y="700"/>
                        <a:pt x="67" y="700"/>
                      </a:cubicBezTo>
                      <a:lnTo>
                        <a:pt x="600" y="700"/>
                      </a:lnTo>
                      <a:cubicBezTo>
                        <a:pt x="637" y="700"/>
                        <a:pt x="667" y="670"/>
                        <a:pt x="667" y="633"/>
                      </a:cubicBezTo>
                      <a:lnTo>
                        <a:pt x="667" y="191"/>
                      </a:lnTo>
                      <a:lnTo>
                        <a:pt x="667" y="100"/>
                      </a:lnTo>
                      <a:cubicBezTo>
                        <a:pt x="667" y="63"/>
                        <a:pt x="637" y="33"/>
                        <a:pt x="600" y="33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1" name="Rectangle 262">
                  <a:extLst>
                    <a:ext uri="{FF2B5EF4-FFF2-40B4-BE49-F238E27FC236}">
                      <a16:creationId xmlns="" xmlns:a16="http://schemas.microsoft.com/office/drawing/2014/main" id="{DEB5A31D-5DA0-4210-A8EF-36BA9B4EB92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41" y="2653"/>
                  <a:ext cx="1322" cy="131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2" name="Rectangle 263">
                  <a:extLst>
                    <a:ext uri="{FF2B5EF4-FFF2-40B4-BE49-F238E27FC236}">
                      <a16:creationId xmlns="" xmlns:a16="http://schemas.microsoft.com/office/drawing/2014/main" id="{903BB49E-178E-447E-A047-50B4BA7E7E5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41" y="1857"/>
                  <a:ext cx="1322" cy="132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3" name="Rectangle 264">
                  <a:extLst>
                    <a:ext uri="{FF2B5EF4-FFF2-40B4-BE49-F238E27FC236}">
                      <a16:creationId xmlns="" xmlns:a16="http://schemas.microsoft.com/office/drawing/2014/main" id="{85953873-2CEF-4482-B75F-EBE1691A51E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41" y="2386"/>
                  <a:ext cx="1322" cy="132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4" name="Rectangle 265">
                  <a:extLst>
                    <a:ext uri="{FF2B5EF4-FFF2-40B4-BE49-F238E27FC236}">
                      <a16:creationId xmlns="" xmlns:a16="http://schemas.microsoft.com/office/drawing/2014/main" id="{1C47541B-6ED6-4BED-A57F-99C8256B4EF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141" y="2120"/>
                  <a:ext cx="1322" cy="135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465" name="Globe">
                <a:extLst>
                  <a:ext uri="{FF2B5EF4-FFF2-40B4-BE49-F238E27FC236}">
                    <a16:creationId xmlns="" xmlns:a16="http://schemas.microsoft.com/office/drawing/2014/main" id="{4537CFA0-B34A-4907-BE02-EFF358DB9532}"/>
                  </a:ext>
                </a:extLst>
              </p:cNvPr>
              <p:cNvSpPr>
                <a:spLocks noChangeAspect="1" noEditPoint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8118346" y="2022347"/>
                <a:ext cx="290473" cy="291022"/>
              </a:xfrm>
              <a:custGeom>
                <a:avLst/>
                <a:gdLst>
                  <a:gd name="T0" fmla="*/ 625 w 800"/>
                  <a:gd name="T1" fmla="*/ 375 h 800"/>
                  <a:gd name="T2" fmla="*/ 692 w 800"/>
                  <a:gd name="T3" fmla="*/ 208 h 800"/>
                  <a:gd name="T4" fmla="*/ 691 w 800"/>
                  <a:gd name="T5" fmla="*/ 595 h 800"/>
                  <a:gd name="T6" fmla="*/ 625 w 800"/>
                  <a:gd name="T7" fmla="*/ 425 h 800"/>
                  <a:gd name="T8" fmla="*/ 691 w 800"/>
                  <a:gd name="T9" fmla="*/ 595 h 800"/>
                  <a:gd name="T10" fmla="*/ 593 w 800"/>
                  <a:gd name="T11" fmla="*/ 607 h 800"/>
                  <a:gd name="T12" fmla="*/ 532 w 800"/>
                  <a:gd name="T13" fmla="*/ 724 h 800"/>
                  <a:gd name="T14" fmla="*/ 425 w 800"/>
                  <a:gd name="T15" fmla="*/ 579 h 800"/>
                  <a:gd name="T16" fmla="*/ 516 w 800"/>
                  <a:gd name="T17" fmla="*/ 659 h 800"/>
                  <a:gd name="T18" fmla="*/ 425 w 800"/>
                  <a:gd name="T19" fmla="*/ 425 h 800"/>
                  <a:gd name="T20" fmla="*/ 559 w 800"/>
                  <a:gd name="T21" fmla="*/ 546 h 800"/>
                  <a:gd name="T22" fmla="*/ 425 w 800"/>
                  <a:gd name="T23" fmla="*/ 425 h 800"/>
                  <a:gd name="T24" fmla="*/ 559 w 800"/>
                  <a:gd name="T25" fmla="*/ 257 h 800"/>
                  <a:gd name="T26" fmla="*/ 425 w 800"/>
                  <a:gd name="T27" fmla="*/ 375 h 800"/>
                  <a:gd name="T28" fmla="*/ 425 w 800"/>
                  <a:gd name="T29" fmla="*/ 55 h 800"/>
                  <a:gd name="T30" fmla="*/ 545 w 800"/>
                  <a:gd name="T31" fmla="*/ 209 h 800"/>
                  <a:gd name="T32" fmla="*/ 425 w 800"/>
                  <a:gd name="T33" fmla="*/ 55 h 800"/>
                  <a:gd name="T34" fmla="*/ 594 w 800"/>
                  <a:gd name="T35" fmla="*/ 196 h 800"/>
                  <a:gd name="T36" fmla="*/ 661 w 800"/>
                  <a:gd name="T37" fmla="*/ 168 h 800"/>
                  <a:gd name="T38" fmla="*/ 255 w 800"/>
                  <a:gd name="T39" fmla="*/ 209 h 800"/>
                  <a:gd name="T40" fmla="*/ 375 w 800"/>
                  <a:gd name="T41" fmla="*/ 55 h 800"/>
                  <a:gd name="T42" fmla="*/ 375 w 800"/>
                  <a:gd name="T43" fmla="*/ 375 h 800"/>
                  <a:gd name="T44" fmla="*/ 241 w 800"/>
                  <a:gd name="T45" fmla="*/ 257 h 800"/>
                  <a:gd name="T46" fmla="*/ 375 w 800"/>
                  <a:gd name="T47" fmla="*/ 375 h 800"/>
                  <a:gd name="T48" fmla="*/ 242 w 800"/>
                  <a:gd name="T49" fmla="*/ 546 h 800"/>
                  <a:gd name="T50" fmla="*/ 375 w 800"/>
                  <a:gd name="T51" fmla="*/ 425 h 800"/>
                  <a:gd name="T52" fmla="*/ 375 w 800"/>
                  <a:gd name="T53" fmla="*/ 746 h 800"/>
                  <a:gd name="T54" fmla="*/ 256 w 800"/>
                  <a:gd name="T55" fmla="*/ 594 h 800"/>
                  <a:gd name="T56" fmla="*/ 375 w 800"/>
                  <a:gd name="T57" fmla="*/ 746 h 800"/>
                  <a:gd name="T58" fmla="*/ 208 w 800"/>
                  <a:gd name="T59" fmla="*/ 607 h 800"/>
                  <a:gd name="T60" fmla="*/ 141 w 800"/>
                  <a:gd name="T61" fmla="*/ 635 h 800"/>
                  <a:gd name="T62" fmla="*/ 52 w 800"/>
                  <a:gd name="T63" fmla="*/ 425 h 800"/>
                  <a:gd name="T64" fmla="*/ 194 w 800"/>
                  <a:gd name="T65" fmla="*/ 559 h 800"/>
                  <a:gd name="T66" fmla="*/ 108 w 800"/>
                  <a:gd name="T67" fmla="*/ 208 h 800"/>
                  <a:gd name="T68" fmla="*/ 176 w 800"/>
                  <a:gd name="T69" fmla="*/ 375 h 800"/>
                  <a:gd name="T70" fmla="*/ 108 w 800"/>
                  <a:gd name="T71" fmla="*/ 208 h 800"/>
                  <a:gd name="T72" fmla="*/ 207 w 800"/>
                  <a:gd name="T73" fmla="*/ 196 h 800"/>
                  <a:gd name="T74" fmla="*/ 268 w 800"/>
                  <a:gd name="T75" fmla="*/ 76 h 800"/>
                  <a:gd name="T76" fmla="*/ 425 w 800"/>
                  <a:gd name="T77" fmla="*/ 0 h 800"/>
                  <a:gd name="T78" fmla="*/ 375 w 800"/>
                  <a:gd name="T79" fmla="*/ 1 h 800"/>
                  <a:gd name="T80" fmla="*/ 0 w 800"/>
                  <a:gd name="T81" fmla="*/ 375 h 800"/>
                  <a:gd name="T82" fmla="*/ 1 w 800"/>
                  <a:gd name="T83" fmla="*/ 425 h 800"/>
                  <a:gd name="T84" fmla="*/ 375 w 800"/>
                  <a:gd name="T85" fmla="*/ 800 h 800"/>
                  <a:gd name="T86" fmla="*/ 425 w 800"/>
                  <a:gd name="T87" fmla="*/ 799 h 800"/>
                  <a:gd name="T88" fmla="*/ 800 w 800"/>
                  <a:gd name="T89" fmla="*/ 425 h 800"/>
                  <a:gd name="T90" fmla="*/ 799 w 800"/>
                  <a:gd name="T91" fmla="*/ 375 h 8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800" h="800">
                    <a:moveTo>
                      <a:pt x="749" y="375"/>
                    </a:moveTo>
                    <a:lnTo>
                      <a:pt x="625" y="375"/>
                    </a:lnTo>
                    <a:cubicBezTo>
                      <a:pt x="623" y="329"/>
                      <a:pt x="617" y="285"/>
                      <a:pt x="607" y="244"/>
                    </a:cubicBezTo>
                    <a:cubicBezTo>
                      <a:pt x="638" y="234"/>
                      <a:pt x="667" y="222"/>
                      <a:pt x="692" y="208"/>
                    </a:cubicBezTo>
                    <a:cubicBezTo>
                      <a:pt x="725" y="257"/>
                      <a:pt x="745" y="314"/>
                      <a:pt x="749" y="375"/>
                    </a:cubicBezTo>
                    <a:close/>
                    <a:moveTo>
                      <a:pt x="691" y="595"/>
                    </a:moveTo>
                    <a:cubicBezTo>
                      <a:pt x="666" y="581"/>
                      <a:pt x="637" y="569"/>
                      <a:pt x="607" y="559"/>
                    </a:cubicBezTo>
                    <a:cubicBezTo>
                      <a:pt x="617" y="518"/>
                      <a:pt x="623" y="473"/>
                      <a:pt x="625" y="425"/>
                    </a:cubicBezTo>
                    <a:lnTo>
                      <a:pt x="749" y="425"/>
                    </a:lnTo>
                    <a:cubicBezTo>
                      <a:pt x="745" y="488"/>
                      <a:pt x="724" y="546"/>
                      <a:pt x="691" y="595"/>
                    </a:cubicBezTo>
                    <a:close/>
                    <a:moveTo>
                      <a:pt x="532" y="724"/>
                    </a:moveTo>
                    <a:cubicBezTo>
                      <a:pt x="557" y="693"/>
                      <a:pt x="577" y="653"/>
                      <a:pt x="593" y="607"/>
                    </a:cubicBezTo>
                    <a:cubicBezTo>
                      <a:pt x="617" y="615"/>
                      <a:pt x="639" y="624"/>
                      <a:pt x="660" y="635"/>
                    </a:cubicBezTo>
                    <a:cubicBezTo>
                      <a:pt x="625" y="673"/>
                      <a:pt x="581" y="704"/>
                      <a:pt x="532" y="724"/>
                    </a:cubicBezTo>
                    <a:close/>
                    <a:moveTo>
                      <a:pt x="425" y="746"/>
                    </a:moveTo>
                    <a:lnTo>
                      <a:pt x="425" y="579"/>
                    </a:lnTo>
                    <a:cubicBezTo>
                      <a:pt x="467" y="580"/>
                      <a:pt x="507" y="585"/>
                      <a:pt x="545" y="594"/>
                    </a:cubicBezTo>
                    <a:cubicBezTo>
                      <a:pt x="536" y="617"/>
                      <a:pt x="527" y="639"/>
                      <a:pt x="516" y="659"/>
                    </a:cubicBezTo>
                    <a:cubicBezTo>
                      <a:pt x="490" y="705"/>
                      <a:pt x="458" y="735"/>
                      <a:pt x="425" y="746"/>
                    </a:cubicBezTo>
                    <a:close/>
                    <a:moveTo>
                      <a:pt x="425" y="425"/>
                    </a:moveTo>
                    <a:lnTo>
                      <a:pt x="575" y="425"/>
                    </a:lnTo>
                    <a:cubicBezTo>
                      <a:pt x="573" y="468"/>
                      <a:pt x="568" y="508"/>
                      <a:pt x="559" y="546"/>
                    </a:cubicBezTo>
                    <a:cubicBezTo>
                      <a:pt x="516" y="536"/>
                      <a:pt x="472" y="530"/>
                      <a:pt x="425" y="529"/>
                    </a:cubicBezTo>
                    <a:lnTo>
                      <a:pt x="425" y="425"/>
                    </a:lnTo>
                    <a:close/>
                    <a:moveTo>
                      <a:pt x="425" y="275"/>
                    </a:moveTo>
                    <a:cubicBezTo>
                      <a:pt x="472" y="273"/>
                      <a:pt x="517" y="267"/>
                      <a:pt x="559" y="257"/>
                    </a:cubicBezTo>
                    <a:cubicBezTo>
                      <a:pt x="568" y="294"/>
                      <a:pt x="573" y="334"/>
                      <a:pt x="575" y="375"/>
                    </a:cubicBezTo>
                    <a:lnTo>
                      <a:pt x="425" y="375"/>
                    </a:lnTo>
                    <a:lnTo>
                      <a:pt x="425" y="275"/>
                    </a:lnTo>
                    <a:close/>
                    <a:moveTo>
                      <a:pt x="425" y="55"/>
                    </a:moveTo>
                    <a:cubicBezTo>
                      <a:pt x="458" y="65"/>
                      <a:pt x="490" y="96"/>
                      <a:pt x="516" y="142"/>
                    </a:cubicBezTo>
                    <a:cubicBezTo>
                      <a:pt x="527" y="162"/>
                      <a:pt x="537" y="185"/>
                      <a:pt x="545" y="209"/>
                    </a:cubicBezTo>
                    <a:cubicBezTo>
                      <a:pt x="507" y="218"/>
                      <a:pt x="467" y="223"/>
                      <a:pt x="425" y="225"/>
                    </a:cubicBezTo>
                    <a:lnTo>
                      <a:pt x="425" y="55"/>
                    </a:lnTo>
                    <a:close/>
                    <a:moveTo>
                      <a:pt x="661" y="168"/>
                    </a:moveTo>
                    <a:cubicBezTo>
                      <a:pt x="641" y="179"/>
                      <a:pt x="618" y="188"/>
                      <a:pt x="594" y="196"/>
                    </a:cubicBezTo>
                    <a:cubicBezTo>
                      <a:pt x="578" y="149"/>
                      <a:pt x="557" y="108"/>
                      <a:pt x="532" y="76"/>
                    </a:cubicBezTo>
                    <a:cubicBezTo>
                      <a:pt x="582" y="97"/>
                      <a:pt x="626" y="128"/>
                      <a:pt x="661" y="168"/>
                    </a:cubicBezTo>
                    <a:close/>
                    <a:moveTo>
                      <a:pt x="375" y="225"/>
                    </a:moveTo>
                    <a:cubicBezTo>
                      <a:pt x="334" y="223"/>
                      <a:pt x="293" y="218"/>
                      <a:pt x="255" y="209"/>
                    </a:cubicBezTo>
                    <a:cubicBezTo>
                      <a:pt x="264" y="185"/>
                      <a:pt x="273" y="162"/>
                      <a:pt x="285" y="142"/>
                    </a:cubicBezTo>
                    <a:cubicBezTo>
                      <a:pt x="311" y="96"/>
                      <a:pt x="343" y="65"/>
                      <a:pt x="375" y="55"/>
                    </a:cubicBezTo>
                    <a:lnTo>
                      <a:pt x="375" y="225"/>
                    </a:lnTo>
                    <a:close/>
                    <a:moveTo>
                      <a:pt x="375" y="375"/>
                    </a:moveTo>
                    <a:lnTo>
                      <a:pt x="226" y="375"/>
                    </a:lnTo>
                    <a:cubicBezTo>
                      <a:pt x="228" y="334"/>
                      <a:pt x="233" y="294"/>
                      <a:pt x="241" y="257"/>
                    </a:cubicBezTo>
                    <a:cubicBezTo>
                      <a:pt x="284" y="267"/>
                      <a:pt x="329" y="273"/>
                      <a:pt x="375" y="275"/>
                    </a:cubicBezTo>
                    <a:lnTo>
                      <a:pt x="375" y="375"/>
                    </a:lnTo>
                    <a:close/>
                    <a:moveTo>
                      <a:pt x="375" y="529"/>
                    </a:moveTo>
                    <a:cubicBezTo>
                      <a:pt x="329" y="530"/>
                      <a:pt x="284" y="536"/>
                      <a:pt x="242" y="546"/>
                    </a:cubicBezTo>
                    <a:cubicBezTo>
                      <a:pt x="233" y="508"/>
                      <a:pt x="228" y="467"/>
                      <a:pt x="226" y="425"/>
                    </a:cubicBezTo>
                    <a:lnTo>
                      <a:pt x="375" y="425"/>
                    </a:lnTo>
                    <a:lnTo>
                      <a:pt x="375" y="529"/>
                    </a:lnTo>
                    <a:close/>
                    <a:moveTo>
                      <a:pt x="375" y="746"/>
                    </a:moveTo>
                    <a:cubicBezTo>
                      <a:pt x="343" y="735"/>
                      <a:pt x="311" y="705"/>
                      <a:pt x="285" y="659"/>
                    </a:cubicBezTo>
                    <a:cubicBezTo>
                      <a:pt x="274" y="639"/>
                      <a:pt x="264" y="617"/>
                      <a:pt x="256" y="594"/>
                    </a:cubicBezTo>
                    <a:cubicBezTo>
                      <a:pt x="294" y="585"/>
                      <a:pt x="334" y="580"/>
                      <a:pt x="375" y="579"/>
                    </a:cubicBezTo>
                    <a:lnTo>
                      <a:pt x="375" y="746"/>
                    </a:lnTo>
                    <a:close/>
                    <a:moveTo>
                      <a:pt x="141" y="635"/>
                    </a:moveTo>
                    <a:cubicBezTo>
                      <a:pt x="161" y="624"/>
                      <a:pt x="184" y="615"/>
                      <a:pt x="208" y="607"/>
                    </a:cubicBezTo>
                    <a:cubicBezTo>
                      <a:pt x="223" y="653"/>
                      <a:pt x="244" y="693"/>
                      <a:pt x="268" y="724"/>
                    </a:cubicBezTo>
                    <a:cubicBezTo>
                      <a:pt x="219" y="704"/>
                      <a:pt x="176" y="673"/>
                      <a:pt x="141" y="635"/>
                    </a:cubicBezTo>
                    <a:close/>
                    <a:moveTo>
                      <a:pt x="109" y="595"/>
                    </a:moveTo>
                    <a:cubicBezTo>
                      <a:pt x="77" y="546"/>
                      <a:pt x="56" y="488"/>
                      <a:pt x="52" y="425"/>
                    </a:cubicBezTo>
                    <a:lnTo>
                      <a:pt x="176" y="425"/>
                    </a:lnTo>
                    <a:cubicBezTo>
                      <a:pt x="177" y="473"/>
                      <a:pt x="184" y="518"/>
                      <a:pt x="194" y="559"/>
                    </a:cubicBezTo>
                    <a:cubicBezTo>
                      <a:pt x="163" y="569"/>
                      <a:pt x="135" y="581"/>
                      <a:pt x="109" y="595"/>
                    </a:cubicBezTo>
                    <a:close/>
                    <a:moveTo>
                      <a:pt x="108" y="208"/>
                    </a:moveTo>
                    <a:cubicBezTo>
                      <a:pt x="134" y="222"/>
                      <a:pt x="163" y="234"/>
                      <a:pt x="193" y="244"/>
                    </a:cubicBezTo>
                    <a:cubicBezTo>
                      <a:pt x="183" y="285"/>
                      <a:pt x="177" y="329"/>
                      <a:pt x="176" y="375"/>
                    </a:cubicBezTo>
                    <a:lnTo>
                      <a:pt x="52" y="375"/>
                    </a:lnTo>
                    <a:cubicBezTo>
                      <a:pt x="56" y="314"/>
                      <a:pt x="76" y="257"/>
                      <a:pt x="108" y="208"/>
                    </a:cubicBezTo>
                    <a:close/>
                    <a:moveTo>
                      <a:pt x="268" y="76"/>
                    </a:moveTo>
                    <a:cubicBezTo>
                      <a:pt x="244" y="108"/>
                      <a:pt x="223" y="149"/>
                      <a:pt x="207" y="196"/>
                    </a:cubicBezTo>
                    <a:cubicBezTo>
                      <a:pt x="183" y="188"/>
                      <a:pt x="160" y="179"/>
                      <a:pt x="139" y="168"/>
                    </a:cubicBezTo>
                    <a:cubicBezTo>
                      <a:pt x="175" y="128"/>
                      <a:pt x="219" y="97"/>
                      <a:pt x="268" y="76"/>
                    </a:cubicBezTo>
                    <a:close/>
                    <a:moveTo>
                      <a:pt x="425" y="1"/>
                    </a:moveTo>
                    <a:lnTo>
                      <a:pt x="425" y="0"/>
                    </a:lnTo>
                    <a:lnTo>
                      <a:pt x="375" y="0"/>
                    </a:lnTo>
                    <a:lnTo>
                      <a:pt x="375" y="1"/>
                    </a:lnTo>
                    <a:cubicBezTo>
                      <a:pt x="174" y="14"/>
                      <a:pt x="14" y="174"/>
                      <a:pt x="1" y="375"/>
                    </a:cubicBezTo>
                    <a:lnTo>
                      <a:pt x="0" y="375"/>
                    </a:lnTo>
                    <a:lnTo>
                      <a:pt x="0" y="425"/>
                    </a:lnTo>
                    <a:lnTo>
                      <a:pt x="1" y="425"/>
                    </a:lnTo>
                    <a:cubicBezTo>
                      <a:pt x="14" y="626"/>
                      <a:pt x="174" y="787"/>
                      <a:pt x="375" y="799"/>
                    </a:cubicBezTo>
                    <a:lnTo>
                      <a:pt x="375" y="800"/>
                    </a:lnTo>
                    <a:lnTo>
                      <a:pt x="425" y="800"/>
                    </a:lnTo>
                    <a:lnTo>
                      <a:pt x="425" y="799"/>
                    </a:lnTo>
                    <a:cubicBezTo>
                      <a:pt x="626" y="787"/>
                      <a:pt x="787" y="626"/>
                      <a:pt x="799" y="425"/>
                    </a:cubicBezTo>
                    <a:lnTo>
                      <a:pt x="800" y="425"/>
                    </a:lnTo>
                    <a:lnTo>
                      <a:pt x="800" y="375"/>
                    </a:lnTo>
                    <a:lnTo>
                      <a:pt x="799" y="375"/>
                    </a:lnTo>
                    <a:cubicBezTo>
                      <a:pt x="787" y="174"/>
                      <a:pt x="626" y="14"/>
                      <a:pt x="425" y="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grpSp>
            <p:nvGrpSpPr>
              <p:cNvPr id="466" name="Handshake2">
                <a:extLst>
                  <a:ext uri="{FF2B5EF4-FFF2-40B4-BE49-F238E27FC236}">
                    <a16:creationId xmlns="" xmlns:a16="http://schemas.microsoft.com/office/drawing/2014/main" id="{B064C709-4878-4F2A-BE84-7C5A6A66E378}"/>
                  </a:ext>
                </a:extLst>
              </p:cNvPr>
              <p:cNvGrpSpPr>
                <a:grpSpLocks noChangeAspect="1"/>
              </p:cNvGrpSpPr>
              <p:nvPr>
                <p:custDataLst>
                  <p:tags r:id="rId11"/>
                </p:custDataLst>
              </p:nvPr>
            </p:nvGrpSpPr>
            <p:grpSpPr bwMode="auto">
              <a:xfrm>
                <a:off x="5909904" y="864284"/>
                <a:ext cx="400471" cy="254169"/>
                <a:chOff x="73" y="153"/>
                <a:chExt cx="323" cy="205"/>
              </a:xfrm>
              <a:solidFill>
                <a:schemeClr val="bg1"/>
              </a:solidFill>
            </p:grpSpPr>
            <p:sp>
              <p:nvSpPr>
                <p:cNvPr id="467" name="Handshake2">
                  <a:extLst>
                    <a:ext uri="{FF2B5EF4-FFF2-40B4-BE49-F238E27FC236}">
                      <a16:creationId xmlns="" xmlns:a16="http://schemas.microsoft.com/office/drawing/2014/main" id="{466061FA-69BC-47A6-A848-3310C45084A1}"/>
                    </a:ext>
                  </a:extLst>
                </p:cNvPr>
                <p:cNvSpPr>
                  <a:spLocks/>
                </p:cNvSpPr>
                <p:nvPr>
                  <p:custDataLst>
                    <p:tags r:id="rId12"/>
                  </p:custDataLst>
                </p:nvPr>
              </p:nvSpPr>
              <p:spPr bwMode="auto">
                <a:xfrm>
                  <a:off x="396" y="250"/>
                  <a:ext cx="0" cy="1"/>
                </a:xfrm>
                <a:custGeom>
                  <a:avLst/>
                  <a:gdLst>
                    <a:gd name="T0" fmla="*/ 0 h 2"/>
                    <a:gd name="T1" fmla="*/ 1 h 2"/>
                    <a:gd name="T2" fmla="*/ 2 h 2"/>
                    <a:gd name="T3" fmla="*/ 0 h 2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</a:cxnLst>
                  <a:rect l="0" t="0" r="r" b="b"/>
                  <a:pathLst>
                    <a:path h="2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lnTo>
                        <a:pt x="0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8" name="Handshake2">
                  <a:extLst>
                    <a:ext uri="{FF2B5EF4-FFF2-40B4-BE49-F238E27FC236}">
                      <a16:creationId xmlns="" xmlns:a16="http://schemas.microsoft.com/office/drawing/2014/main" id="{19152CEB-E81B-4FB3-B8C9-20D026520E5C}"/>
                    </a:ext>
                  </a:extLst>
                </p:cNvPr>
                <p:cNvSpPr>
                  <a:spLocks/>
                </p:cNvSpPr>
                <p:nvPr>
                  <p:custDataLst>
                    <p:tags r:id="rId13"/>
                  </p:custDataLst>
                </p:nvPr>
              </p:nvSpPr>
              <p:spPr bwMode="auto">
                <a:xfrm>
                  <a:off x="368" y="154"/>
                  <a:ext cx="0" cy="0"/>
                </a:xfrm>
                <a:custGeom>
                  <a:avLst/>
                  <a:gdLst>
                    <a:gd name="T0" fmla="*/ 1 w 1"/>
                    <a:gd name="T1" fmla="*/ 1 w 1"/>
                    <a:gd name="T2" fmla="*/ 0 w 1"/>
                    <a:gd name="T3" fmla="*/ 1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69" name="Handshake2">
                  <a:extLst>
                    <a:ext uri="{FF2B5EF4-FFF2-40B4-BE49-F238E27FC236}">
                      <a16:creationId xmlns="" xmlns:a16="http://schemas.microsoft.com/office/drawing/2014/main" id="{B8F56536-66B3-4B1C-9469-1347AE957167}"/>
                    </a:ext>
                  </a:extLst>
                </p:cNvPr>
                <p:cNvSpPr>
                  <a:spLocks/>
                </p:cNvSpPr>
                <p:nvPr>
                  <p:custDataLst>
                    <p:tags r:id="rId14"/>
                  </p:custDataLst>
                </p:nvPr>
              </p:nvSpPr>
              <p:spPr bwMode="auto">
                <a:xfrm>
                  <a:off x="335" y="263"/>
                  <a:ext cx="19" cy="24"/>
                </a:xfrm>
                <a:custGeom>
                  <a:avLst/>
                  <a:gdLst>
                    <a:gd name="T0" fmla="*/ 1 w 49"/>
                    <a:gd name="T1" fmla="*/ 39 h 62"/>
                    <a:gd name="T2" fmla="*/ 31 w 49"/>
                    <a:gd name="T3" fmla="*/ 1 h 62"/>
                    <a:gd name="T4" fmla="*/ 33 w 49"/>
                    <a:gd name="T5" fmla="*/ 0 h 62"/>
                    <a:gd name="T6" fmla="*/ 9 w 49"/>
                    <a:gd name="T7" fmla="*/ 62 h 62"/>
                    <a:gd name="T8" fmla="*/ 1 w 49"/>
                    <a:gd name="T9" fmla="*/ 3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9" h="62">
                      <a:moveTo>
                        <a:pt x="1" y="39"/>
                      </a:moveTo>
                      <a:cubicBezTo>
                        <a:pt x="0" y="22"/>
                        <a:pt x="14" y="10"/>
                        <a:pt x="31" y="1"/>
                      </a:cubicBezTo>
                      <a:cubicBezTo>
                        <a:pt x="32" y="1"/>
                        <a:pt x="33" y="0"/>
                        <a:pt x="33" y="0"/>
                      </a:cubicBezTo>
                      <a:cubicBezTo>
                        <a:pt x="49" y="22"/>
                        <a:pt x="36" y="55"/>
                        <a:pt x="9" y="62"/>
                      </a:cubicBezTo>
                      <a:cubicBezTo>
                        <a:pt x="9" y="62"/>
                        <a:pt x="2" y="45"/>
                        <a:pt x="1" y="39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0" name="Handshake2">
                  <a:extLst>
                    <a:ext uri="{FF2B5EF4-FFF2-40B4-BE49-F238E27FC236}">
                      <a16:creationId xmlns="" xmlns:a16="http://schemas.microsoft.com/office/drawing/2014/main" id="{8C98A2D9-4DF1-459B-A5A6-4F8A8217C2F9}"/>
                    </a:ext>
                  </a:extLst>
                </p:cNvPr>
                <p:cNvSpPr>
                  <a:spLocks/>
                </p:cNvSpPr>
                <p:nvPr>
                  <p:custDataLst>
                    <p:tags r:id="rId15"/>
                  </p:custDataLst>
                </p:nvPr>
              </p:nvSpPr>
              <p:spPr bwMode="auto">
                <a:xfrm>
                  <a:off x="303" y="265"/>
                  <a:ext cx="32" cy="48"/>
                </a:xfrm>
                <a:custGeom>
                  <a:avLst/>
                  <a:gdLst>
                    <a:gd name="T0" fmla="*/ 42 w 87"/>
                    <a:gd name="T1" fmla="*/ 117 h 127"/>
                    <a:gd name="T2" fmla="*/ 1 w 87"/>
                    <a:gd name="T3" fmla="*/ 54 h 127"/>
                    <a:gd name="T4" fmla="*/ 12 w 87"/>
                    <a:gd name="T5" fmla="*/ 26 h 127"/>
                    <a:gd name="T6" fmla="*/ 69 w 87"/>
                    <a:gd name="T7" fmla="*/ 44 h 127"/>
                    <a:gd name="T8" fmla="*/ 87 w 87"/>
                    <a:gd name="T9" fmla="*/ 88 h 127"/>
                    <a:gd name="T10" fmla="*/ 42 w 87"/>
                    <a:gd name="T11" fmla="*/ 117 h 1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7" h="127">
                      <a:moveTo>
                        <a:pt x="42" y="117"/>
                      </a:moveTo>
                      <a:cubicBezTo>
                        <a:pt x="25" y="109"/>
                        <a:pt x="3" y="74"/>
                        <a:pt x="1" y="54"/>
                      </a:cubicBezTo>
                      <a:cubicBezTo>
                        <a:pt x="0" y="46"/>
                        <a:pt x="2" y="33"/>
                        <a:pt x="12" y="26"/>
                      </a:cubicBezTo>
                      <a:cubicBezTo>
                        <a:pt x="45" y="0"/>
                        <a:pt x="62" y="30"/>
                        <a:pt x="69" y="44"/>
                      </a:cubicBezTo>
                      <a:cubicBezTo>
                        <a:pt x="69" y="44"/>
                        <a:pt x="87" y="76"/>
                        <a:pt x="87" y="88"/>
                      </a:cubicBezTo>
                      <a:cubicBezTo>
                        <a:pt x="87" y="106"/>
                        <a:pt x="60" y="127"/>
                        <a:pt x="42" y="117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1" name="Handshake2">
                  <a:extLst>
                    <a:ext uri="{FF2B5EF4-FFF2-40B4-BE49-F238E27FC236}">
                      <a16:creationId xmlns="" xmlns:a16="http://schemas.microsoft.com/office/drawing/2014/main" id="{048174F2-5AD5-4A96-AC7F-B8FDB2E8FC40}"/>
                    </a:ext>
                  </a:extLst>
                </p:cNvPr>
                <p:cNvSpPr>
                  <a:spLocks/>
                </p:cNvSpPr>
                <p:nvPr>
                  <p:custDataLst>
                    <p:tags r:id="rId16"/>
                  </p:custDataLst>
                </p:nvPr>
              </p:nvSpPr>
              <p:spPr bwMode="auto">
                <a:xfrm>
                  <a:off x="292" y="278"/>
                  <a:ext cx="2" cy="4"/>
                </a:xfrm>
                <a:custGeom>
                  <a:avLst/>
                  <a:gdLst>
                    <a:gd name="T0" fmla="*/ 4 w 4"/>
                    <a:gd name="T1" fmla="*/ 0 h 12"/>
                    <a:gd name="T2" fmla="*/ 0 w 4"/>
                    <a:gd name="T3" fmla="*/ 12 h 12"/>
                    <a:gd name="T4" fmla="*/ 4 w 4"/>
                    <a:gd name="T5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2">
                      <a:moveTo>
                        <a:pt x="4" y="0"/>
                      </a:moveTo>
                      <a:cubicBezTo>
                        <a:pt x="2" y="5"/>
                        <a:pt x="2" y="9"/>
                        <a:pt x="0" y="12"/>
                      </a:cubicBezTo>
                      <a:cubicBezTo>
                        <a:pt x="0" y="8"/>
                        <a:pt x="2" y="5"/>
                        <a:pt x="4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2" name="Handshake2">
                  <a:extLst>
                    <a:ext uri="{FF2B5EF4-FFF2-40B4-BE49-F238E27FC236}">
                      <a16:creationId xmlns="" xmlns:a16="http://schemas.microsoft.com/office/drawing/2014/main" id="{525FB0A1-FCCC-45C0-999A-577779D269B9}"/>
                    </a:ext>
                  </a:extLst>
                </p:cNvPr>
                <p:cNvSpPr>
                  <a:spLocks/>
                </p:cNvSpPr>
                <p:nvPr>
                  <p:custDataLst>
                    <p:tags r:id="rId17"/>
                  </p:custDataLst>
                </p:nvPr>
              </p:nvSpPr>
              <p:spPr bwMode="auto">
                <a:xfrm>
                  <a:off x="288" y="282"/>
                  <a:ext cx="4" cy="1"/>
                </a:xfrm>
                <a:custGeom>
                  <a:avLst/>
                  <a:gdLst>
                    <a:gd name="T0" fmla="*/ 11 w 11"/>
                    <a:gd name="T1" fmla="*/ 2 h 2"/>
                    <a:gd name="T2" fmla="*/ 0 w 11"/>
                    <a:gd name="T3" fmla="*/ 0 h 2"/>
                    <a:gd name="T4" fmla="*/ 11 w 11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1" h="2">
                      <a:moveTo>
                        <a:pt x="11" y="2"/>
                      </a:moveTo>
                      <a:cubicBezTo>
                        <a:pt x="8" y="2"/>
                        <a:pt x="5" y="1"/>
                        <a:pt x="0" y="0"/>
                      </a:cubicBezTo>
                      <a:cubicBezTo>
                        <a:pt x="6" y="0"/>
                        <a:pt x="10" y="1"/>
                        <a:pt x="11" y="2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3" name="Handshake2">
                  <a:extLst>
                    <a:ext uri="{FF2B5EF4-FFF2-40B4-BE49-F238E27FC236}">
                      <a16:creationId xmlns="" xmlns:a16="http://schemas.microsoft.com/office/drawing/2014/main" id="{88DB3EBE-BC75-4F4F-915D-55D3890FE868}"/>
                    </a:ext>
                  </a:extLst>
                </p:cNvPr>
                <p:cNvSpPr>
                  <a:spLocks/>
                </p:cNvSpPr>
                <p:nvPr>
                  <p:custDataLst>
                    <p:tags r:id="rId18"/>
                  </p:custDataLst>
                </p:nvPr>
              </p:nvSpPr>
              <p:spPr bwMode="auto">
                <a:xfrm>
                  <a:off x="73" y="153"/>
                  <a:ext cx="223" cy="139"/>
                </a:xfrm>
                <a:custGeom>
                  <a:avLst/>
                  <a:gdLst>
                    <a:gd name="T0" fmla="*/ 578 w 595"/>
                    <a:gd name="T1" fmla="*/ 145 h 371"/>
                    <a:gd name="T2" fmla="*/ 404 w 595"/>
                    <a:gd name="T3" fmla="*/ 96 h 371"/>
                    <a:gd name="T4" fmla="*/ 201 w 595"/>
                    <a:gd name="T5" fmla="*/ 264 h 371"/>
                    <a:gd name="T6" fmla="*/ 123 w 595"/>
                    <a:gd name="T7" fmla="*/ 365 h 371"/>
                    <a:gd name="T8" fmla="*/ 42 w 595"/>
                    <a:gd name="T9" fmla="*/ 353 h 371"/>
                    <a:gd name="T10" fmla="*/ 0 w 595"/>
                    <a:gd name="T11" fmla="*/ 342 h 371"/>
                    <a:gd name="T12" fmla="*/ 23 w 595"/>
                    <a:gd name="T13" fmla="*/ 279 h 371"/>
                    <a:gd name="T14" fmla="*/ 104 w 595"/>
                    <a:gd name="T15" fmla="*/ 76 h 371"/>
                    <a:gd name="T16" fmla="*/ 125 w 595"/>
                    <a:gd name="T17" fmla="*/ 86 h 371"/>
                    <a:gd name="T18" fmla="*/ 290 w 595"/>
                    <a:gd name="T19" fmla="*/ 86 h 371"/>
                    <a:gd name="T20" fmla="*/ 416 w 595"/>
                    <a:gd name="T21" fmla="*/ 6 h 371"/>
                    <a:gd name="T22" fmla="*/ 578 w 595"/>
                    <a:gd name="T23" fmla="*/ 145 h 3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95" h="371">
                      <a:moveTo>
                        <a:pt x="578" y="145"/>
                      </a:moveTo>
                      <a:cubicBezTo>
                        <a:pt x="553" y="208"/>
                        <a:pt x="434" y="81"/>
                        <a:pt x="404" y="96"/>
                      </a:cubicBezTo>
                      <a:cubicBezTo>
                        <a:pt x="382" y="106"/>
                        <a:pt x="218" y="250"/>
                        <a:pt x="201" y="264"/>
                      </a:cubicBezTo>
                      <a:cubicBezTo>
                        <a:pt x="116" y="336"/>
                        <a:pt x="128" y="363"/>
                        <a:pt x="123" y="365"/>
                      </a:cubicBezTo>
                      <a:cubicBezTo>
                        <a:pt x="124" y="364"/>
                        <a:pt x="101" y="371"/>
                        <a:pt x="42" y="353"/>
                      </a:cubicBezTo>
                      <a:cubicBezTo>
                        <a:pt x="27" y="348"/>
                        <a:pt x="13" y="344"/>
                        <a:pt x="0" y="342"/>
                      </a:cubicBezTo>
                      <a:cubicBezTo>
                        <a:pt x="7" y="321"/>
                        <a:pt x="14" y="300"/>
                        <a:pt x="23" y="279"/>
                      </a:cubicBezTo>
                      <a:cubicBezTo>
                        <a:pt x="49" y="216"/>
                        <a:pt x="75" y="142"/>
                        <a:pt x="104" y="76"/>
                      </a:cubicBezTo>
                      <a:cubicBezTo>
                        <a:pt x="111" y="79"/>
                        <a:pt x="118" y="83"/>
                        <a:pt x="125" y="86"/>
                      </a:cubicBezTo>
                      <a:cubicBezTo>
                        <a:pt x="177" y="111"/>
                        <a:pt x="241" y="143"/>
                        <a:pt x="290" y="86"/>
                      </a:cubicBezTo>
                      <a:cubicBezTo>
                        <a:pt x="318" y="54"/>
                        <a:pt x="371" y="11"/>
                        <a:pt x="416" y="6"/>
                      </a:cubicBezTo>
                      <a:cubicBezTo>
                        <a:pt x="454" y="0"/>
                        <a:pt x="595" y="120"/>
                        <a:pt x="578" y="145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4" name="Handshake2">
                  <a:extLst>
                    <a:ext uri="{FF2B5EF4-FFF2-40B4-BE49-F238E27FC236}">
                      <a16:creationId xmlns="" xmlns:a16="http://schemas.microsoft.com/office/drawing/2014/main" id="{20DAAD72-B054-4279-854B-AA6FF7F384C2}"/>
                    </a:ext>
                  </a:extLst>
                </p:cNvPr>
                <p:cNvSpPr>
                  <a:spLocks/>
                </p:cNvSpPr>
                <p:nvPr>
                  <p:custDataLst>
                    <p:tags r:id="rId19"/>
                  </p:custDataLst>
                </p:nvPr>
              </p:nvSpPr>
              <p:spPr bwMode="auto">
                <a:xfrm>
                  <a:off x="275" y="290"/>
                  <a:ext cx="38" cy="42"/>
                </a:xfrm>
                <a:custGeom>
                  <a:avLst/>
                  <a:gdLst>
                    <a:gd name="T0" fmla="*/ 13 w 102"/>
                    <a:gd name="T1" fmla="*/ 12 h 112"/>
                    <a:gd name="T2" fmla="*/ 49 w 102"/>
                    <a:gd name="T3" fmla="*/ 5 h 112"/>
                    <a:gd name="T4" fmla="*/ 96 w 102"/>
                    <a:gd name="T5" fmla="*/ 59 h 112"/>
                    <a:gd name="T6" fmla="*/ 45 w 102"/>
                    <a:gd name="T7" fmla="*/ 101 h 112"/>
                    <a:gd name="T8" fmla="*/ 6 w 102"/>
                    <a:gd name="T9" fmla="*/ 61 h 112"/>
                    <a:gd name="T10" fmla="*/ 13 w 102"/>
                    <a:gd name="T11" fmla="*/ 12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2" h="112">
                      <a:moveTo>
                        <a:pt x="13" y="12"/>
                      </a:moveTo>
                      <a:cubicBezTo>
                        <a:pt x="27" y="0"/>
                        <a:pt x="41" y="1"/>
                        <a:pt x="49" y="5"/>
                      </a:cubicBezTo>
                      <a:cubicBezTo>
                        <a:pt x="74" y="15"/>
                        <a:pt x="96" y="59"/>
                        <a:pt x="96" y="59"/>
                      </a:cubicBezTo>
                      <a:cubicBezTo>
                        <a:pt x="102" y="89"/>
                        <a:pt x="72" y="112"/>
                        <a:pt x="45" y="101"/>
                      </a:cubicBezTo>
                      <a:cubicBezTo>
                        <a:pt x="32" y="95"/>
                        <a:pt x="12" y="73"/>
                        <a:pt x="6" y="61"/>
                      </a:cubicBezTo>
                      <a:cubicBezTo>
                        <a:pt x="1" y="50"/>
                        <a:pt x="0" y="22"/>
                        <a:pt x="13" y="12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5" name="Handshake2">
                  <a:extLst>
                    <a:ext uri="{FF2B5EF4-FFF2-40B4-BE49-F238E27FC236}">
                      <a16:creationId xmlns="" xmlns:a16="http://schemas.microsoft.com/office/drawing/2014/main" id="{B2D088B2-9135-46A1-A344-1130FFCAE0E5}"/>
                    </a:ext>
                  </a:extLst>
                </p:cNvPr>
                <p:cNvSpPr>
                  <a:spLocks/>
                </p:cNvSpPr>
                <p:nvPr>
                  <p:custDataLst>
                    <p:tags r:id="rId20"/>
                  </p:custDataLst>
                </p:nvPr>
              </p:nvSpPr>
              <p:spPr bwMode="auto">
                <a:xfrm>
                  <a:off x="257" y="316"/>
                  <a:ext cx="34" cy="37"/>
                </a:xfrm>
                <a:custGeom>
                  <a:avLst/>
                  <a:gdLst>
                    <a:gd name="T0" fmla="*/ 81 w 90"/>
                    <a:gd name="T1" fmla="*/ 51 h 99"/>
                    <a:gd name="T2" fmla="*/ 17 w 90"/>
                    <a:gd name="T3" fmla="*/ 84 h 99"/>
                    <a:gd name="T4" fmla="*/ 17 w 90"/>
                    <a:gd name="T5" fmla="*/ 84 h 99"/>
                    <a:gd name="T6" fmla="*/ 15 w 90"/>
                    <a:gd name="T7" fmla="*/ 81 h 99"/>
                    <a:gd name="T8" fmla="*/ 6 w 90"/>
                    <a:gd name="T9" fmla="*/ 61 h 99"/>
                    <a:gd name="T10" fmla="*/ 21 w 90"/>
                    <a:gd name="T11" fmla="*/ 19 h 99"/>
                    <a:gd name="T12" fmla="*/ 81 w 90"/>
                    <a:gd name="T13" fmla="*/ 51 h 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0" h="99">
                      <a:moveTo>
                        <a:pt x="81" y="51"/>
                      </a:moveTo>
                      <a:cubicBezTo>
                        <a:pt x="90" y="75"/>
                        <a:pt x="54" y="99"/>
                        <a:pt x="17" y="84"/>
                      </a:cubicBezTo>
                      <a:cubicBezTo>
                        <a:pt x="17" y="84"/>
                        <a:pt x="17" y="84"/>
                        <a:pt x="17" y="84"/>
                      </a:cubicBezTo>
                      <a:cubicBezTo>
                        <a:pt x="16" y="84"/>
                        <a:pt x="16" y="82"/>
                        <a:pt x="15" y="81"/>
                      </a:cubicBezTo>
                      <a:cubicBezTo>
                        <a:pt x="13" y="76"/>
                        <a:pt x="6" y="67"/>
                        <a:pt x="6" y="61"/>
                      </a:cubicBezTo>
                      <a:cubicBezTo>
                        <a:pt x="0" y="43"/>
                        <a:pt x="12" y="28"/>
                        <a:pt x="21" y="19"/>
                      </a:cubicBezTo>
                      <a:cubicBezTo>
                        <a:pt x="37" y="0"/>
                        <a:pt x="76" y="36"/>
                        <a:pt x="81" y="5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76" name="Handshake2">
                  <a:extLst>
                    <a:ext uri="{FF2B5EF4-FFF2-40B4-BE49-F238E27FC236}">
                      <a16:creationId xmlns="" xmlns:a16="http://schemas.microsoft.com/office/drawing/2014/main" id="{1D49B845-768A-4C46-BA67-3A487C0954EE}"/>
                    </a:ext>
                  </a:extLst>
                </p:cNvPr>
                <p:cNvSpPr>
                  <a:spLocks/>
                </p:cNvSpPr>
                <p:nvPr>
                  <p:custDataLst>
                    <p:tags r:id="rId21"/>
                  </p:custDataLst>
                </p:nvPr>
              </p:nvSpPr>
              <p:spPr bwMode="auto">
                <a:xfrm>
                  <a:off x="118" y="158"/>
                  <a:ext cx="274" cy="200"/>
                </a:xfrm>
                <a:custGeom>
                  <a:avLst/>
                  <a:gdLst>
                    <a:gd name="T0" fmla="*/ 372 w 731"/>
                    <a:gd name="T1" fmla="*/ 421 h 531"/>
                    <a:gd name="T2" fmla="*/ 357 w 731"/>
                    <a:gd name="T3" fmla="*/ 463 h 531"/>
                    <a:gd name="T4" fmla="*/ 361 w 731"/>
                    <a:gd name="T5" fmla="*/ 485 h 531"/>
                    <a:gd name="T6" fmla="*/ 288 w 731"/>
                    <a:gd name="T7" fmla="*/ 467 h 531"/>
                    <a:gd name="T8" fmla="*/ 386 w 731"/>
                    <a:gd name="T9" fmla="*/ 339 h 531"/>
                    <a:gd name="T10" fmla="*/ 268 w 731"/>
                    <a:gd name="T11" fmla="*/ 451 h 531"/>
                    <a:gd name="T12" fmla="*/ 205 w 731"/>
                    <a:gd name="T13" fmla="*/ 457 h 531"/>
                    <a:gd name="T14" fmla="*/ 195 w 731"/>
                    <a:gd name="T15" fmla="*/ 436 h 531"/>
                    <a:gd name="T16" fmla="*/ 342 w 731"/>
                    <a:gd name="T17" fmla="*/ 290 h 531"/>
                    <a:gd name="T18" fmla="*/ 181 w 731"/>
                    <a:gd name="T19" fmla="*/ 420 h 531"/>
                    <a:gd name="T20" fmla="*/ 155 w 731"/>
                    <a:gd name="T21" fmla="*/ 424 h 531"/>
                    <a:gd name="T22" fmla="*/ 127 w 731"/>
                    <a:gd name="T23" fmla="*/ 415 h 531"/>
                    <a:gd name="T24" fmla="*/ 124 w 731"/>
                    <a:gd name="T25" fmla="*/ 376 h 531"/>
                    <a:gd name="T26" fmla="*/ 271 w 731"/>
                    <a:gd name="T27" fmla="*/ 237 h 531"/>
                    <a:gd name="T28" fmla="*/ 192 w 731"/>
                    <a:gd name="T29" fmla="*/ 303 h 531"/>
                    <a:gd name="T30" fmla="*/ 78 w 731"/>
                    <a:gd name="T31" fmla="*/ 376 h 531"/>
                    <a:gd name="T32" fmla="*/ 43 w 731"/>
                    <a:gd name="T33" fmla="*/ 369 h 531"/>
                    <a:gd name="T34" fmla="*/ 35 w 731"/>
                    <a:gd name="T35" fmla="*/ 359 h 531"/>
                    <a:gd name="T36" fmla="*/ 291 w 731"/>
                    <a:gd name="T37" fmla="*/ 104 h 531"/>
                    <a:gd name="T38" fmla="*/ 432 w 731"/>
                    <a:gd name="T39" fmla="*/ 172 h 531"/>
                    <a:gd name="T40" fmla="*/ 490 w 731"/>
                    <a:gd name="T41" fmla="*/ 130 h 531"/>
                    <a:gd name="T42" fmla="*/ 384 w 731"/>
                    <a:gd name="T43" fmla="*/ 9 h 531"/>
                    <a:gd name="T44" fmla="*/ 500 w 731"/>
                    <a:gd name="T45" fmla="*/ 18 h 531"/>
                    <a:gd name="T46" fmla="*/ 573 w 731"/>
                    <a:gd name="T47" fmla="*/ 21 h 531"/>
                    <a:gd name="T48" fmla="*/ 665 w 731"/>
                    <a:gd name="T49" fmla="*/ 0 h 531"/>
                    <a:gd name="T50" fmla="*/ 725 w 731"/>
                    <a:gd name="T51" fmla="*/ 238 h 531"/>
                    <a:gd name="T52" fmla="*/ 597 w 731"/>
                    <a:gd name="T53" fmla="*/ 255 h 531"/>
                    <a:gd name="T54" fmla="*/ 560 w 731"/>
                    <a:gd name="T55" fmla="*/ 293 h 531"/>
                    <a:gd name="T56" fmla="*/ 487 w 731"/>
                    <a:gd name="T57" fmla="*/ 285 h 531"/>
                    <a:gd name="T58" fmla="*/ 471 w 731"/>
                    <a:gd name="T59" fmla="*/ 320 h 531"/>
                    <a:gd name="T60" fmla="*/ 468 w 731"/>
                    <a:gd name="T61" fmla="*/ 332 h 531"/>
                    <a:gd name="T62" fmla="*/ 468 w 731"/>
                    <a:gd name="T63" fmla="*/ 332 h 531"/>
                    <a:gd name="T64" fmla="*/ 468 w 731"/>
                    <a:gd name="T65" fmla="*/ 333 h 531"/>
                    <a:gd name="T66" fmla="*/ 457 w 731"/>
                    <a:gd name="T67" fmla="*/ 331 h 531"/>
                    <a:gd name="T68" fmla="*/ 457 w 731"/>
                    <a:gd name="T69" fmla="*/ 331 h 531"/>
                    <a:gd name="T70" fmla="*/ 456 w 731"/>
                    <a:gd name="T71" fmla="*/ 331 h 531"/>
                    <a:gd name="T72" fmla="*/ 415 w 731"/>
                    <a:gd name="T73" fmla="*/ 338 h 531"/>
                    <a:gd name="T74" fmla="*/ 405 w 731"/>
                    <a:gd name="T75" fmla="*/ 391 h 531"/>
                    <a:gd name="T76" fmla="*/ 408 w 731"/>
                    <a:gd name="T77" fmla="*/ 409 h 531"/>
                    <a:gd name="T78" fmla="*/ 372 w 731"/>
                    <a:gd name="T79" fmla="*/ 421 h 5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731" h="531">
                      <a:moveTo>
                        <a:pt x="372" y="421"/>
                      </a:moveTo>
                      <a:cubicBezTo>
                        <a:pt x="356" y="436"/>
                        <a:pt x="356" y="445"/>
                        <a:pt x="357" y="463"/>
                      </a:cubicBezTo>
                      <a:cubicBezTo>
                        <a:pt x="357" y="467"/>
                        <a:pt x="360" y="481"/>
                        <a:pt x="361" y="485"/>
                      </a:cubicBezTo>
                      <a:cubicBezTo>
                        <a:pt x="285" y="531"/>
                        <a:pt x="286" y="468"/>
                        <a:pt x="288" y="467"/>
                      </a:cubicBezTo>
                      <a:cubicBezTo>
                        <a:pt x="373" y="386"/>
                        <a:pt x="386" y="339"/>
                        <a:pt x="386" y="339"/>
                      </a:cubicBezTo>
                      <a:cubicBezTo>
                        <a:pt x="380" y="342"/>
                        <a:pt x="302" y="434"/>
                        <a:pt x="268" y="451"/>
                      </a:cubicBezTo>
                      <a:cubicBezTo>
                        <a:pt x="234" y="468"/>
                        <a:pt x="218" y="464"/>
                        <a:pt x="205" y="457"/>
                      </a:cubicBezTo>
                      <a:cubicBezTo>
                        <a:pt x="200" y="453"/>
                        <a:pt x="196" y="446"/>
                        <a:pt x="195" y="436"/>
                      </a:cubicBezTo>
                      <a:cubicBezTo>
                        <a:pt x="251" y="417"/>
                        <a:pt x="340" y="307"/>
                        <a:pt x="342" y="290"/>
                      </a:cubicBezTo>
                      <a:cubicBezTo>
                        <a:pt x="342" y="290"/>
                        <a:pt x="235" y="406"/>
                        <a:pt x="181" y="420"/>
                      </a:cubicBezTo>
                      <a:cubicBezTo>
                        <a:pt x="171" y="423"/>
                        <a:pt x="163" y="424"/>
                        <a:pt x="155" y="424"/>
                      </a:cubicBezTo>
                      <a:cubicBezTo>
                        <a:pt x="142" y="424"/>
                        <a:pt x="132" y="421"/>
                        <a:pt x="127" y="415"/>
                      </a:cubicBezTo>
                      <a:cubicBezTo>
                        <a:pt x="121" y="408"/>
                        <a:pt x="120" y="395"/>
                        <a:pt x="124" y="376"/>
                      </a:cubicBezTo>
                      <a:cubicBezTo>
                        <a:pt x="197" y="332"/>
                        <a:pt x="280" y="244"/>
                        <a:pt x="271" y="237"/>
                      </a:cubicBezTo>
                      <a:lnTo>
                        <a:pt x="192" y="303"/>
                      </a:lnTo>
                      <a:cubicBezTo>
                        <a:pt x="155" y="331"/>
                        <a:pt x="80" y="379"/>
                        <a:pt x="78" y="376"/>
                      </a:cubicBezTo>
                      <a:cubicBezTo>
                        <a:pt x="66" y="381"/>
                        <a:pt x="57" y="378"/>
                        <a:pt x="43" y="369"/>
                      </a:cubicBezTo>
                      <a:cubicBezTo>
                        <a:pt x="39" y="366"/>
                        <a:pt x="36" y="363"/>
                        <a:pt x="35" y="359"/>
                      </a:cubicBezTo>
                      <a:cubicBezTo>
                        <a:pt x="0" y="322"/>
                        <a:pt x="136" y="251"/>
                        <a:pt x="291" y="104"/>
                      </a:cubicBezTo>
                      <a:cubicBezTo>
                        <a:pt x="316" y="113"/>
                        <a:pt x="380" y="174"/>
                        <a:pt x="432" y="172"/>
                      </a:cubicBezTo>
                      <a:cubicBezTo>
                        <a:pt x="454" y="172"/>
                        <a:pt x="490" y="151"/>
                        <a:pt x="490" y="130"/>
                      </a:cubicBezTo>
                      <a:cubicBezTo>
                        <a:pt x="491" y="99"/>
                        <a:pt x="418" y="36"/>
                        <a:pt x="384" y="9"/>
                      </a:cubicBezTo>
                      <a:cubicBezTo>
                        <a:pt x="411" y="8"/>
                        <a:pt x="469" y="16"/>
                        <a:pt x="500" y="18"/>
                      </a:cubicBezTo>
                      <a:cubicBezTo>
                        <a:pt x="524" y="20"/>
                        <a:pt x="549" y="21"/>
                        <a:pt x="573" y="21"/>
                      </a:cubicBezTo>
                      <a:cubicBezTo>
                        <a:pt x="609" y="21"/>
                        <a:pt x="637" y="15"/>
                        <a:pt x="665" y="0"/>
                      </a:cubicBezTo>
                      <a:cubicBezTo>
                        <a:pt x="690" y="57"/>
                        <a:pt x="731" y="238"/>
                        <a:pt x="725" y="238"/>
                      </a:cubicBezTo>
                      <a:cubicBezTo>
                        <a:pt x="686" y="237"/>
                        <a:pt x="633" y="236"/>
                        <a:pt x="597" y="255"/>
                      </a:cubicBezTo>
                      <a:cubicBezTo>
                        <a:pt x="579" y="264"/>
                        <a:pt x="566" y="276"/>
                        <a:pt x="560" y="293"/>
                      </a:cubicBezTo>
                      <a:cubicBezTo>
                        <a:pt x="536" y="272"/>
                        <a:pt x="509" y="269"/>
                        <a:pt x="487" y="285"/>
                      </a:cubicBezTo>
                      <a:cubicBezTo>
                        <a:pt x="478" y="292"/>
                        <a:pt x="474" y="308"/>
                        <a:pt x="471" y="320"/>
                      </a:cubicBezTo>
                      <a:cubicBezTo>
                        <a:pt x="469" y="324"/>
                        <a:pt x="468" y="328"/>
                        <a:pt x="468" y="332"/>
                      </a:cubicBezTo>
                      <a:lnTo>
                        <a:pt x="468" y="332"/>
                      </a:lnTo>
                      <a:cubicBezTo>
                        <a:pt x="468" y="332"/>
                        <a:pt x="468" y="333"/>
                        <a:pt x="468" y="333"/>
                      </a:cubicBezTo>
                      <a:cubicBezTo>
                        <a:pt x="467" y="332"/>
                        <a:pt x="463" y="331"/>
                        <a:pt x="457" y="331"/>
                      </a:cubicBezTo>
                      <a:lnTo>
                        <a:pt x="457" y="331"/>
                      </a:lnTo>
                      <a:lnTo>
                        <a:pt x="456" y="331"/>
                      </a:lnTo>
                      <a:cubicBezTo>
                        <a:pt x="445" y="329"/>
                        <a:pt x="429" y="327"/>
                        <a:pt x="415" y="338"/>
                      </a:cubicBezTo>
                      <a:cubicBezTo>
                        <a:pt x="398" y="351"/>
                        <a:pt x="399" y="372"/>
                        <a:pt x="405" y="391"/>
                      </a:cubicBezTo>
                      <a:cubicBezTo>
                        <a:pt x="406" y="397"/>
                        <a:pt x="406" y="403"/>
                        <a:pt x="408" y="409"/>
                      </a:cubicBezTo>
                      <a:cubicBezTo>
                        <a:pt x="401" y="410"/>
                        <a:pt x="377" y="417"/>
                        <a:pt x="372" y="42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sp>
          <p:nvSpPr>
            <p:cNvPr id="480" name="Oval 479">
              <a:extLst>
                <a:ext uri="{FF2B5EF4-FFF2-40B4-BE49-F238E27FC236}">
                  <a16:creationId xmlns="" xmlns:a16="http://schemas.microsoft.com/office/drawing/2014/main" id="{E65B7104-8945-4E66-B99B-81FA860237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01907" y="1305290"/>
              <a:ext cx="4249979" cy="4249979"/>
            </a:xfrm>
            <a:prstGeom prst="ellipse">
              <a:avLst/>
            </a:prstGeom>
            <a:gradFill>
              <a:gsLst>
                <a:gs pos="25000">
                  <a:schemeClr val="bg1">
                    <a:lumMod val="85000"/>
                  </a:schemeClr>
                </a:gs>
                <a:gs pos="12000">
                  <a:schemeClr val="bg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  <a:effectLst/>
            <a:scene3d>
              <a:camera prst="orthographicFront"/>
              <a:lightRig rig="threePt" dir="t"/>
            </a:scene3d>
            <a:sp3d prstMaterial="clear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38" name="Group 537">
            <a:extLst>
              <a:ext uri="{FF2B5EF4-FFF2-40B4-BE49-F238E27FC236}">
                <a16:creationId xmlns="" xmlns:a16="http://schemas.microsoft.com/office/drawing/2014/main" id="{E7AC0BF9-9057-4FEE-9250-52BE06AD8349}"/>
              </a:ext>
            </a:extLst>
          </p:cNvPr>
          <p:cNvGrpSpPr/>
          <p:nvPr/>
        </p:nvGrpSpPr>
        <p:grpSpPr>
          <a:xfrm>
            <a:off x="5870474" y="1783081"/>
            <a:ext cx="457200" cy="3304181"/>
            <a:chOff x="5870474" y="1783081"/>
            <a:chExt cx="457200" cy="3304181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529" name="Freeform: Shape 528">
              <a:extLst>
                <a:ext uri="{FF2B5EF4-FFF2-40B4-BE49-F238E27FC236}">
                  <a16:creationId xmlns="" xmlns:a16="http://schemas.microsoft.com/office/drawing/2014/main" id="{83087733-EFC1-40E4-A2F0-A53A0D7AC466}"/>
                </a:ext>
              </a:extLst>
            </p:cNvPr>
            <p:cNvSpPr/>
            <p:nvPr/>
          </p:nvSpPr>
          <p:spPr>
            <a:xfrm>
              <a:off x="5907997" y="1783081"/>
              <a:ext cx="376713" cy="3304181"/>
            </a:xfrm>
            <a:custGeom>
              <a:avLst/>
              <a:gdLst>
                <a:gd name="connsiteX0" fmla="*/ 283029 w 566058"/>
                <a:gd name="connsiteY0" fmla="*/ 3084288 h 3084289"/>
                <a:gd name="connsiteX1" fmla="*/ 283033 w 566058"/>
                <a:gd name="connsiteY1" fmla="*/ 3084288 h 3084289"/>
                <a:gd name="connsiteX2" fmla="*/ 283028 w 566058"/>
                <a:gd name="connsiteY2" fmla="*/ 3084289 h 3084289"/>
                <a:gd name="connsiteX3" fmla="*/ 283029 w 566058"/>
                <a:gd name="connsiteY3" fmla="*/ 0 h 3084289"/>
                <a:gd name="connsiteX4" fmla="*/ 566058 w 566058"/>
                <a:gd name="connsiteY4" fmla="*/ 283029 h 3084289"/>
                <a:gd name="connsiteX5" fmla="*/ 566058 w 566058"/>
                <a:gd name="connsiteY5" fmla="*/ 1556658 h 3084289"/>
                <a:gd name="connsiteX6" fmla="*/ 0 w 566058"/>
                <a:gd name="connsiteY6" fmla="*/ 1556658 h 3084289"/>
                <a:gd name="connsiteX7" fmla="*/ 0 w 566058"/>
                <a:gd name="connsiteY7" fmla="*/ 283029 h 3084289"/>
                <a:gd name="connsiteX8" fmla="*/ 283029 w 566058"/>
                <a:gd name="connsiteY8" fmla="*/ 0 h 3084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58" h="3084289">
                  <a:moveTo>
                    <a:pt x="283029" y="3084288"/>
                  </a:moveTo>
                  <a:lnTo>
                    <a:pt x="283033" y="3084288"/>
                  </a:lnTo>
                  <a:lnTo>
                    <a:pt x="283028" y="3084289"/>
                  </a:lnTo>
                  <a:close/>
                  <a:moveTo>
                    <a:pt x="283029" y="0"/>
                  </a:moveTo>
                  <a:cubicBezTo>
                    <a:pt x="439342" y="0"/>
                    <a:pt x="566058" y="126716"/>
                    <a:pt x="566058" y="283029"/>
                  </a:cubicBezTo>
                  <a:lnTo>
                    <a:pt x="566058" y="1556658"/>
                  </a:lnTo>
                  <a:lnTo>
                    <a:pt x="0" y="1556658"/>
                  </a:lnTo>
                  <a:lnTo>
                    <a:pt x="0" y="283029"/>
                  </a:lnTo>
                  <a:cubicBezTo>
                    <a:pt x="0" y="126716"/>
                    <a:pt x="126716" y="0"/>
                    <a:pt x="2830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0" name="Isosceles Triangle 529">
              <a:extLst>
                <a:ext uri="{FF2B5EF4-FFF2-40B4-BE49-F238E27FC236}">
                  <a16:creationId xmlns="" xmlns:a16="http://schemas.microsoft.com/office/drawing/2014/main" id="{09A6EC92-EAA6-4B08-85FE-52FE34515E33}"/>
                </a:ext>
              </a:extLst>
            </p:cNvPr>
            <p:cNvSpPr/>
            <p:nvPr/>
          </p:nvSpPr>
          <p:spPr>
            <a:xfrm>
              <a:off x="6004151" y="1788394"/>
              <a:ext cx="194027" cy="1553065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16200000" rotWithShape="0">
                <a:schemeClr val="bg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1" name="Oval 530">
              <a:extLst>
                <a:ext uri="{FF2B5EF4-FFF2-40B4-BE49-F238E27FC236}">
                  <a16:creationId xmlns="" xmlns:a16="http://schemas.microsoft.com/office/drawing/2014/main" id="{EE8C554A-F4A2-4F0A-93E6-E32E3DAB54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70474" y="3203379"/>
              <a:ext cx="457200" cy="4571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532" name="Group 531">
            <a:extLst>
              <a:ext uri="{FF2B5EF4-FFF2-40B4-BE49-F238E27FC236}">
                <a16:creationId xmlns="" xmlns:a16="http://schemas.microsoft.com/office/drawing/2014/main" id="{D16B5B69-B4C5-4BD2-A00F-772B8D8EDD76}"/>
              </a:ext>
            </a:extLst>
          </p:cNvPr>
          <p:cNvGrpSpPr/>
          <p:nvPr/>
        </p:nvGrpSpPr>
        <p:grpSpPr>
          <a:xfrm>
            <a:off x="5844738" y="1329630"/>
            <a:ext cx="512844" cy="4190821"/>
            <a:chOff x="4012593" y="1324607"/>
            <a:chExt cx="512844" cy="4190821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533" name="Freeform: Shape 532">
              <a:extLst>
                <a:ext uri="{FF2B5EF4-FFF2-40B4-BE49-F238E27FC236}">
                  <a16:creationId xmlns="" xmlns:a16="http://schemas.microsoft.com/office/drawing/2014/main" id="{7E9F984E-80E0-49B7-A0AC-C0B3EEEFFF24}"/>
                </a:ext>
              </a:extLst>
            </p:cNvPr>
            <p:cNvSpPr/>
            <p:nvPr/>
          </p:nvSpPr>
          <p:spPr>
            <a:xfrm>
              <a:off x="4079268" y="1332227"/>
              <a:ext cx="376713" cy="4183201"/>
            </a:xfrm>
            <a:custGeom>
              <a:avLst/>
              <a:gdLst>
                <a:gd name="connsiteX0" fmla="*/ 283029 w 566058"/>
                <a:gd name="connsiteY0" fmla="*/ 4183200 h 4183201"/>
                <a:gd name="connsiteX1" fmla="*/ 283033 w 566058"/>
                <a:gd name="connsiteY1" fmla="*/ 4183200 h 4183201"/>
                <a:gd name="connsiteX2" fmla="*/ 283028 w 566058"/>
                <a:gd name="connsiteY2" fmla="*/ 4183201 h 4183201"/>
                <a:gd name="connsiteX3" fmla="*/ 283029 w 566058"/>
                <a:gd name="connsiteY3" fmla="*/ 0 h 4183201"/>
                <a:gd name="connsiteX4" fmla="*/ 566058 w 566058"/>
                <a:gd name="connsiteY4" fmla="*/ 283029 h 4183201"/>
                <a:gd name="connsiteX5" fmla="*/ 566058 w 566058"/>
                <a:gd name="connsiteY5" fmla="*/ 2106114 h 4183201"/>
                <a:gd name="connsiteX6" fmla="*/ 0 w 566058"/>
                <a:gd name="connsiteY6" fmla="*/ 2106114 h 4183201"/>
                <a:gd name="connsiteX7" fmla="*/ 0 w 566058"/>
                <a:gd name="connsiteY7" fmla="*/ 283029 h 4183201"/>
                <a:gd name="connsiteX8" fmla="*/ 283029 w 566058"/>
                <a:gd name="connsiteY8" fmla="*/ 0 h 4183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66058" h="4183201">
                  <a:moveTo>
                    <a:pt x="283029" y="4183200"/>
                  </a:moveTo>
                  <a:lnTo>
                    <a:pt x="283033" y="4183200"/>
                  </a:lnTo>
                  <a:lnTo>
                    <a:pt x="283028" y="4183201"/>
                  </a:lnTo>
                  <a:close/>
                  <a:moveTo>
                    <a:pt x="283029" y="0"/>
                  </a:moveTo>
                  <a:cubicBezTo>
                    <a:pt x="439342" y="0"/>
                    <a:pt x="566058" y="126716"/>
                    <a:pt x="566058" y="283029"/>
                  </a:cubicBezTo>
                  <a:lnTo>
                    <a:pt x="566058" y="2106114"/>
                  </a:lnTo>
                  <a:lnTo>
                    <a:pt x="0" y="2106114"/>
                  </a:lnTo>
                  <a:lnTo>
                    <a:pt x="0" y="283029"/>
                  </a:lnTo>
                  <a:cubicBezTo>
                    <a:pt x="0" y="126716"/>
                    <a:pt x="126716" y="0"/>
                    <a:pt x="2830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4" name="Isosceles Triangle 533">
              <a:extLst>
                <a:ext uri="{FF2B5EF4-FFF2-40B4-BE49-F238E27FC236}">
                  <a16:creationId xmlns="" xmlns:a16="http://schemas.microsoft.com/office/drawing/2014/main" id="{9B80B8DE-DFA6-40CC-99CB-5BB83D5F8FA5}"/>
                </a:ext>
              </a:extLst>
            </p:cNvPr>
            <p:cNvSpPr/>
            <p:nvPr/>
          </p:nvSpPr>
          <p:spPr>
            <a:xfrm>
              <a:off x="4160930" y="1324607"/>
              <a:ext cx="213387" cy="2034600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dir="16200000" rotWithShape="0">
                <a:schemeClr val="bg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35" name="Oval 534">
              <a:extLst>
                <a:ext uri="{FF2B5EF4-FFF2-40B4-BE49-F238E27FC236}">
                  <a16:creationId xmlns="" xmlns:a16="http://schemas.microsoft.com/office/drawing/2014/main" id="{2BF01584-F422-4B3F-8111-FFC7C89D935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12593" y="3170581"/>
              <a:ext cx="512844" cy="512842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36" name="Oval 535">
              <a:extLst>
                <a:ext uri="{FF2B5EF4-FFF2-40B4-BE49-F238E27FC236}">
                  <a16:creationId xmlns="" xmlns:a16="http://schemas.microsoft.com/office/drawing/2014/main" id="{EBEA7B0A-C4ED-44B9-AC07-4AA30F2C816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112089" y="3271152"/>
              <a:ext cx="319026" cy="319025"/>
            </a:xfrm>
            <a:prstGeom prst="ellipse">
              <a:avLst/>
            </a:prstGeom>
            <a:solidFill>
              <a:schemeClr val="tx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45" name="Callout: Bent Line with Accent Bar 544">
            <a:extLst>
              <a:ext uri="{FF2B5EF4-FFF2-40B4-BE49-F238E27FC236}">
                <a16:creationId xmlns="" xmlns:a16="http://schemas.microsoft.com/office/drawing/2014/main" id="{77D388A6-CACF-48F9-9869-8D2E38127FDB}"/>
              </a:ext>
            </a:extLst>
          </p:cNvPr>
          <p:cNvSpPr>
            <a:spLocks noChangeAspect="1"/>
          </p:cNvSpPr>
          <p:nvPr/>
        </p:nvSpPr>
        <p:spPr>
          <a:xfrm>
            <a:off x="8389100" y="1008628"/>
            <a:ext cx="3362826" cy="631519"/>
          </a:xfrm>
          <a:prstGeom prst="accentCallout2">
            <a:avLst>
              <a:gd name="adj1" fmla="val 50442"/>
              <a:gd name="adj2" fmla="val -1362"/>
              <a:gd name="adj3" fmla="val 17787"/>
              <a:gd name="adj4" fmla="val -11473"/>
              <a:gd name="adj5" fmla="val 5715"/>
              <a:gd name="adj6" fmla="val -30975"/>
            </a:avLst>
          </a:prstGeom>
          <a:noFill/>
          <a:ln w="19050">
            <a:solidFill>
              <a:srgbClr val="E0389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b="1" spc="300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গঠন</a:t>
            </a:r>
            <a:endParaRPr lang="en-IN" sz="3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ikoshBAN" panose="02000000000000000000" pitchFamily="2" charset="0"/>
              <a:cs typeface="NikoshBAN" panose="02000000000000000000" pitchFamily="2" charset="0"/>
            </a:endParaRPr>
          </a:p>
          <a:p>
            <a:pPr algn="ctr"/>
            <a:endParaRPr lang="en-US" sz="1050" dirty="0">
              <a:latin typeface="Sansation Light" panose="02000000000000000000" pitchFamily="2" charset="0"/>
            </a:endParaRPr>
          </a:p>
        </p:txBody>
      </p:sp>
      <p:sp>
        <p:nvSpPr>
          <p:cNvPr id="546" name="Callout: Bent Line with Accent Bar 545">
            <a:extLst>
              <a:ext uri="{FF2B5EF4-FFF2-40B4-BE49-F238E27FC236}">
                <a16:creationId xmlns="" xmlns:a16="http://schemas.microsoft.com/office/drawing/2014/main" id="{1E32821A-A3B1-460E-A90C-84A6303B3CDF}"/>
              </a:ext>
            </a:extLst>
          </p:cNvPr>
          <p:cNvSpPr>
            <a:spLocks noChangeAspect="1"/>
          </p:cNvSpPr>
          <p:nvPr/>
        </p:nvSpPr>
        <p:spPr>
          <a:xfrm>
            <a:off x="9030932" y="2179554"/>
            <a:ext cx="3133910" cy="631519"/>
          </a:xfrm>
          <a:prstGeom prst="accentCallout2">
            <a:avLst>
              <a:gd name="adj1" fmla="val 50686"/>
              <a:gd name="adj2" fmla="val -1682"/>
              <a:gd name="adj3" fmla="val 49335"/>
              <a:gd name="adj4" fmla="val -10207"/>
              <a:gd name="adj5" fmla="val -520"/>
              <a:gd name="adj6" fmla="val -18049"/>
            </a:avLst>
          </a:prstGeom>
          <a:noFill/>
          <a:ln w="19050">
            <a:solidFill>
              <a:srgbClr val="DA000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b="1" spc="300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আইনগত</a:t>
            </a:r>
            <a:r>
              <a:rPr lang="en-US" sz="3200" b="1" spc="3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3200" b="1" spc="300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মর্যাদা</a:t>
            </a:r>
            <a:endParaRPr lang="en-IN" sz="3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ikoshBAN" panose="02000000000000000000" pitchFamily="2" charset="0"/>
              <a:cs typeface="NikoshBAN" panose="02000000000000000000" pitchFamily="2" charset="0"/>
            </a:endParaRPr>
          </a:p>
          <a:p>
            <a:pPr algn="ctr"/>
            <a:endParaRPr lang="en-US" sz="1050" dirty="0">
              <a:latin typeface="Sansation Light" panose="02000000000000000000" pitchFamily="2" charset="0"/>
            </a:endParaRPr>
          </a:p>
        </p:txBody>
      </p:sp>
      <p:sp>
        <p:nvSpPr>
          <p:cNvPr id="547" name="Callout: Bent Line with Accent Bar 546">
            <a:extLst>
              <a:ext uri="{FF2B5EF4-FFF2-40B4-BE49-F238E27FC236}">
                <a16:creationId xmlns="" xmlns:a16="http://schemas.microsoft.com/office/drawing/2014/main" id="{B1BB55FC-016F-4410-8209-2F0391013B63}"/>
              </a:ext>
            </a:extLst>
          </p:cNvPr>
          <p:cNvSpPr>
            <a:spLocks noChangeAspect="1"/>
          </p:cNvSpPr>
          <p:nvPr/>
        </p:nvSpPr>
        <p:spPr>
          <a:xfrm>
            <a:off x="9182209" y="3414854"/>
            <a:ext cx="3031316" cy="631519"/>
          </a:xfrm>
          <a:prstGeom prst="accentCallout2">
            <a:avLst>
              <a:gd name="adj1" fmla="val 51571"/>
              <a:gd name="adj2" fmla="val 1292"/>
              <a:gd name="adj3" fmla="val 51571"/>
              <a:gd name="adj4" fmla="val -9343"/>
              <a:gd name="adj5" fmla="val 1880"/>
              <a:gd name="adj6" fmla="val -13987"/>
            </a:avLst>
          </a:prstGeom>
          <a:noFill/>
          <a:ln w="19050">
            <a:solidFill>
              <a:srgbClr val="FF660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3200" b="1" dirty="0" err="1" smtClean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মালিকানা</a:t>
            </a:r>
            <a:endParaRPr lang="en-IN" sz="3200" b="1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548" name="Callout: Bent Line with Accent Bar 547">
            <a:extLst>
              <a:ext uri="{FF2B5EF4-FFF2-40B4-BE49-F238E27FC236}">
                <a16:creationId xmlns="" xmlns:a16="http://schemas.microsoft.com/office/drawing/2014/main" id="{D9610E6D-59BA-4CD0-BC66-9BD6E7674F04}"/>
              </a:ext>
            </a:extLst>
          </p:cNvPr>
          <p:cNvSpPr>
            <a:spLocks noChangeAspect="1"/>
          </p:cNvSpPr>
          <p:nvPr/>
        </p:nvSpPr>
        <p:spPr>
          <a:xfrm>
            <a:off x="9054683" y="4688442"/>
            <a:ext cx="3133910" cy="631519"/>
          </a:xfrm>
          <a:prstGeom prst="accentCallout2">
            <a:avLst>
              <a:gd name="adj1" fmla="val 49263"/>
              <a:gd name="adj2" fmla="val -702"/>
              <a:gd name="adj3" fmla="val 50165"/>
              <a:gd name="adj4" fmla="val -12402"/>
              <a:gd name="adj5" fmla="val -2914"/>
              <a:gd name="adj6" fmla="val -20111"/>
            </a:avLst>
          </a:prstGeom>
          <a:noFill/>
          <a:ln w="19050">
            <a:solidFill>
              <a:srgbClr val="FFC00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b="1" dirty="0" err="1" smtClean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মূলধন</a:t>
            </a:r>
            <a:endParaRPr lang="en-IN" sz="3200" b="1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549" name="Callout: Bent Line with Accent Bar 548">
            <a:extLst>
              <a:ext uri="{FF2B5EF4-FFF2-40B4-BE49-F238E27FC236}">
                <a16:creationId xmlns="" xmlns:a16="http://schemas.microsoft.com/office/drawing/2014/main" id="{B967150D-6267-4D45-A386-2380B4179574}"/>
              </a:ext>
            </a:extLst>
          </p:cNvPr>
          <p:cNvSpPr>
            <a:spLocks noChangeAspect="1"/>
          </p:cNvSpPr>
          <p:nvPr/>
        </p:nvSpPr>
        <p:spPr>
          <a:xfrm>
            <a:off x="8389100" y="5623671"/>
            <a:ext cx="3362826" cy="631519"/>
          </a:xfrm>
          <a:prstGeom prst="accentCallout2">
            <a:avLst>
              <a:gd name="adj1" fmla="val 51563"/>
              <a:gd name="adj2" fmla="val -319"/>
              <a:gd name="adj3" fmla="val 52181"/>
              <a:gd name="adj4" fmla="val -16099"/>
              <a:gd name="adj5" fmla="val -4385"/>
              <a:gd name="adj6" fmla="val -27094"/>
            </a:avLst>
          </a:prstGeom>
          <a:noFill/>
          <a:ln w="19050">
            <a:solidFill>
              <a:srgbClr val="F0FE7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3200" b="1" dirty="0" err="1" smtClean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ব্যবস্থাপনা</a:t>
            </a:r>
            <a:r>
              <a:rPr lang="en-IN" sz="3200" b="1" dirty="0" smtClean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ও </a:t>
            </a:r>
            <a:r>
              <a:rPr lang="en-IN" sz="3200" b="1" dirty="0" err="1" smtClean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পরিচালনা</a:t>
            </a:r>
            <a:endParaRPr lang="en-IN" sz="3200" b="1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550" name="Callout: Bent Line with Accent Bar 549">
            <a:extLst>
              <a:ext uri="{FF2B5EF4-FFF2-40B4-BE49-F238E27FC236}">
                <a16:creationId xmlns="" xmlns:a16="http://schemas.microsoft.com/office/drawing/2014/main" id="{3B24BF2E-7058-4E41-B217-D4FE501B59AF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0" y="5576292"/>
            <a:ext cx="3756904" cy="631519"/>
          </a:xfrm>
          <a:prstGeom prst="accentCallout2">
            <a:avLst>
              <a:gd name="adj1" fmla="val 50926"/>
              <a:gd name="adj2" fmla="val -345"/>
              <a:gd name="adj3" fmla="val 50354"/>
              <a:gd name="adj4" fmla="val -16986"/>
              <a:gd name="adj5" fmla="val 528"/>
              <a:gd name="adj6" fmla="val -28813"/>
            </a:avLst>
          </a:prstGeom>
          <a:noFill/>
          <a:ln w="19050">
            <a:solidFill>
              <a:srgbClr val="007830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IN" sz="3200" b="1" dirty="0" err="1" smtClean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স্বায়ত্তশাসন</a:t>
            </a:r>
            <a:endParaRPr lang="en-IN" sz="3200" b="1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551" name="Callout: Bent Line with Accent Bar 550">
            <a:extLst>
              <a:ext uri="{FF2B5EF4-FFF2-40B4-BE49-F238E27FC236}">
                <a16:creationId xmlns="" xmlns:a16="http://schemas.microsoft.com/office/drawing/2014/main" id="{4D38FFEF-072D-443B-A9C7-447753D6B942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344760" y="4643597"/>
            <a:ext cx="2695426" cy="631519"/>
          </a:xfrm>
          <a:prstGeom prst="accentCallout2">
            <a:avLst>
              <a:gd name="adj1" fmla="val 46902"/>
              <a:gd name="adj2" fmla="val -674"/>
              <a:gd name="adj3" fmla="val 47395"/>
              <a:gd name="adj4" fmla="val -12174"/>
              <a:gd name="adj5" fmla="val 445"/>
              <a:gd name="adj6" fmla="val -24378"/>
            </a:avLst>
          </a:prstGeom>
          <a:noFill/>
          <a:ln w="19050">
            <a:solidFill>
              <a:srgbClr val="00BC8B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IN" sz="3200" b="1" dirty="0" err="1" smtClean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লাভ-লোকসান</a:t>
            </a:r>
            <a:r>
              <a:rPr lang="en-IN" sz="3200" b="1" dirty="0" smtClean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IN" sz="3200" b="1" dirty="0" err="1" smtClean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বন্টন</a:t>
            </a:r>
            <a:endParaRPr lang="en-IN" sz="3200" b="1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552" name="Callout: Bent Line with Accent Bar 551">
            <a:extLst>
              <a:ext uri="{FF2B5EF4-FFF2-40B4-BE49-F238E27FC236}">
                <a16:creationId xmlns="" xmlns:a16="http://schemas.microsoft.com/office/drawing/2014/main" id="{39F4F914-BB82-42A6-81CE-4A62F3BE91B7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94588" y="3349041"/>
            <a:ext cx="2774167" cy="697889"/>
          </a:xfrm>
          <a:prstGeom prst="accentCallout2">
            <a:avLst>
              <a:gd name="adj1" fmla="val 53651"/>
              <a:gd name="adj2" fmla="val -148"/>
              <a:gd name="adj3" fmla="val 53528"/>
              <a:gd name="adj4" fmla="val -10699"/>
              <a:gd name="adj5" fmla="val 14442"/>
              <a:gd name="adj6" fmla="val -18014"/>
            </a:avLst>
          </a:prstGeom>
          <a:noFill/>
          <a:ln w="19050">
            <a:solidFill>
              <a:srgbClr val="00D6C7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IN" sz="3200" b="1" dirty="0" err="1" smtClean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আয়তন</a:t>
            </a:r>
            <a:endParaRPr lang="en-IN" sz="3200" b="1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553" name="Callout: Bent Line with Accent Bar 552">
            <a:extLst>
              <a:ext uri="{FF2B5EF4-FFF2-40B4-BE49-F238E27FC236}">
                <a16:creationId xmlns="" xmlns:a16="http://schemas.microsoft.com/office/drawing/2014/main" id="{4965D165-A40E-4D06-AC7D-C5F949E6C958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-1" y="2179554"/>
            <a:ext cx="3111549" cy="725855"/>
          </a:xfrm>
          <a:prstGeom prst="accentCallout2">
            <a:avLst>
              <a:gd name="adj1" fmla="val 50738"/>
              <a:gd name="adj2" fmla="val -203"/>
              <a:gd name="adj3" fmla="val 51778"/>
              <a:gd name="adj4" fmla="val -12588"/>
              <a:gd name="adj5" fmla="val -15189"/>
              <a:gd name="adj6" fmla="val -22151"/>
            </a:avLst>
          </a:prstGeom>
          <a:noFill/>
          <a:ln w="19050">
            <a:solidFill>
              <a:srgbClr val="019EFF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IN" sz="3200" b="1" dirty="0" err="1" smtClean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ঝুঁকিবন্টন</a:t>
            </a:r>
            <a:endParaRPr lang="en-IN" sz="3200" b="1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554" name="Callout: Bent Line with Accent Bar 553">
            <a:extLst>
              <a:ext uri="{FF2B5EF4-FFF2-40B4-BE49-F238E27FC236}">
                <a16:creationId xmlns="" xmlns:a16="http://schemas.microsoft.com/office/drawing/2014/main" id="{AA0D3C4A-851E-41A6-8568-55132032ACDC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503330" y="953834"/>
            <a:ext cx="3324099" cy="631519"/>
          </a:xfrm>
          <a:prstGeom prst="accentCallout2">
            <a:avLst>
              <a:gd name="adj1" fmla="val 52522"/>
              <a:gd name="adj2" fmla="val -183"/>
              <a:gd name="adj3" fmla="val 27962"/>
              <a:gd name="adj4" fmla="val -8058"/>
              <a:gd name="adj5" fmla="val 23733"/>
              <a:gd name="adj6" fmla="val -29827"/>
            </a:avLst>
          </a:prstGeom>
          <a:noFill/>
          <a:ln w="19050">
            <a:solidFill>
              <a:srgbClr val="3E36E3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IN" sz="3200" b="1" dirty="0" err="1" smtClean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মন্ত্রণালয়ের</a:t>
            </a:r>
            <a:r>
              <a:rPr lang="en-IN" sz="3200" b="1" dirty="0" smtClean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IN" sz="3200" b="1" dirty="0" err="1" smtClean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সাথে</a:t>
            </a:r>
            <a:r>
              <a:rPr lang="en-IN" sz="3200" b="1" dirty="0" smtClean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IN" sz="3200" b="1" dirty="0" err="1" smtClean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সম্পর্ক</a:t>
            </a:r>
            <a:endParaRPr lang="en-IN" sz="3200" b="1" dirty="0">
              <a:solidFill>
                <a:schemeClr val="bg1">
                  <a:lumMod val="9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555" name="TextBox 554">
            <a:extLst>
              <a:ext uri="{FF2B5EF4-FFF2-40B4-BE49-F238E27FC236}">
                <a16:creationId xmlns="" xmlns:a16="http://schemas.microsoft.com/office/drawing/2014/main" id="{CE973882-CF50-4DF4-8F40-645AEDDDAAC6}"/>
              </a:ext>
            </a:extLst>
          </p:cNvPr>
          <p:cNvSpPr txBox="1"/>
          <p:nvPr/>
        </p:nvSpPr>
        <p:spPr>
          <a:xfrm>
            <a:off x="5306517" y="6236120"/>
            <a:ext cx="256217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উদ্দেশ্য</a:t>
            </a:r>
            <a:endParaRPr lang="en-US" sz="3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556" name="Rectangle 555">
            <a:extLst>
              <a:ext uri="{FF2B5EF4-FFF2-40B4-BE49-F238E27FC236}">
                <a16:creationId xmlns="" xmlns:a16="http://schemas.microsoft.com/office/drawing/2014/main" id="{0683A285-6700-431B-A973-49002C0D6DD1}"/>
              </a:ext>
            </a:extLst>
          </p:cNvPr>
          <p:cNvSpPr/>
          <p:nvPr/>
        </p:nvSpPr>
        <p:spPr>
          <a:xfrm>
            <a:off x="3684129" y="12649"/>
            <a:ext cx="4823756" cy="83099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en-US" sz="4800" b="1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রাষ্ট্রীয়</a:t>
            </a:r>
            <a:r>
              <a:rPr lang="en-US" sz="48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4800" b="1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ব্যবসায়ের</a:t>
            </a:r>
            <a:r>
              <a:rPr lang="en-US" sz="48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4800" b="1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বৈশিষ্ট্য</a:t>
            </a:r>
            <a:endParaRPr lang="en-US" sz="48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557" name="Rectangle 556">
            <a:extLst>
              <a:ext uri="{FF2B5EF4-FFF2-40B4-BE49-F238E27FC236}">
                <a16:creationId xmlns="" xmlns:a16="http://schemas.microsoft.com/office/drawing/2014/main" id="{AC36417F-4F2A-4E77-A7E4-AFCD67A0919F}"/>
              </a:ext>
            </a:extLst>
          </p:cNvPr>
          <p:cNvSpPr/>
          <p:nvPr/>
        </p:nvSpPr>
        <p:spPr>
          <a:xfrm>
            <a:off x="3603356" y="513177"/>
            <a:ext cx="1859803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cap="none" spc="0" dirty="0" err="1" smtClean="0">
                <a:ln w="0"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বিলোপ</a:t>
            </a:r>
            <a:r>
              <a:rPr lang="en-US" sz="3200" b="1" cap="none" spc="0" dirty="0" smtClean="0">
                <a:ln w="0"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3200" b="1" cap="none" spc="0" dirty="0" err="1" smtClean="0">
                <a:ln w="0"/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  <a:latin typeface="NikoshBAN" panose="02000000000000000000" pitchFamily="2" charset="0"/>
                <a:cs typeface="NikoshBAN" panose="02000000000000000000" pitchFamily="2" charset="0"/>
              </a:rPr>
              <a:t>সাধন</a:t>
            </a:r>
            <a:endParaRPr lang="en-US" sz="3200" b="1" cap="none" spc="0" dirty="0">
              <a:ln w="0"/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  <a:reflection blurRad="6350" stA="53000" endA="300" endPos="35500" dir="5400000" sy="-90000" algn="bl" rotWithShape="0"/>
              </a:effectLst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00037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animRot by="21600000">
                                      <p:cBhvr>
                                        <p:cTn id="6" dur="2000" fill="hold"/>
                                        <p:tgtEl>
                                          <p:spTgt spid="5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800000">
                                      <p:cBhvr>
                                        <p:cTn id="8" dur="2000" fill="hold"/>
                                        <p:tgtEl>
                                          <p:spTgt spid="53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9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1000"/>
                                        <p:tgtEl>
                                          <p:spTgt spid="5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8" presetClass="emph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animRot by="21600000">
                                      <p:cBhvr>
                                        <p:cTn id="15" dur="2000" fill="hold"/>
                                        <p:tgtEl>
                                          <p:spTgt spid="5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6" presetID="8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800000">
                                      <p:cBhvr>
                                        <p:cTn id="17" dur="2000" fill="hold"/>
                                        <p:tgtEl>
                                          <p:spTgt spid="53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8" presetID="9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1000"/>
                                        <p:tgtEl>
                                          <p:spTgt spid="5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8" presetClass="emph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animRot by="21600000">
                                      <p:cBhvr>
                                        <p:cTn id="24" dur="2000" fill="hold"/>
                                        <p:tgtEl>
                                          <p:spTgt spid="5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5" presetID="8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800000">
                                      <p:cBhvr>
                                        <p:cTn id="26" dur="2000" fill="hold"/>
                                        <p:tgtEl>
                                          <p:spTgt spid="53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7" presetID="9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1000"/>
                                        <p:tgtEl>
                                          <p:spTgt spid="5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8" presetClass="emph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animRot by="21600000">
                                      <p:cBhvr>
                                        <p:cTn id="33" dur="2000" fill="hold"/>
                                        <p:tgtEl>
                                          <p:spTgt spid="5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4" presetID="8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800000">
                                      <p:cBhvr>
                                        <p:cTn id="35" dur="2000" fill="hold"/>
                                        <p:tgtEl>
                                          <p:spTgt spid="53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6" presetID="9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" dur="1000"/>
                                        <p:tgtEl>
                                          <p:spTgt spid="5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8" presetClass="emph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animRot by="21600000">
                                      <p:cBhvr>
                                        <p:cTn id="42" dur="2000" fill="hold"/>
                                        <p:tgtEl>
                                          <p:spTgt spid="5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3" presetID="8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800000">
                                      <p:cBhvr>
                                        <p:cTn id="44" dur="2000" fill="hold"/>
                                        <p:tgtEl>
                                          <p:spTgt spid="53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5" presetID="9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7" dur="1000"/>
                                        <p:tgtEl>
                                          <p:spTgt spid="5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8" presetClass="emph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animRot by="21600000">
                                      <p:cBhvr>
                                        <p:cTn id="51" dur="2000" fill="hold"/>
                                        <p:tgtEl>
                                          <p:spTgt spid="5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2" presetID="8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800000">
                                      <p:cBhvr>
                                        <p:cTn id="53" dur="2000" fill="hold"/>
                                        <p:tgtEl>
                                          <p:spTgt spid="53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4" presetID="9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6" dur="1000"/>
                                        <p:tgtEl>
                                          <p:spTgt spid="5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8" presetClass="emph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animRot by="21600000">
                                      <p:cBhvr>
                                        <p:cTn id="60" dur="2000" fill="hold"/>
                                        <p:tgtEl>
                                          <p:spTgt spid="5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1" presetID="8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800000">
                                      <p:cBhvr>
                                        <p:cTn id="62" dur="2000" fill="hold"/>
                                        <p:tgtEl>
                                          <p:spTgt spid="53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3" presetID="9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5" dur="1000"/>
                                        <p:tgtEl>
                                          <p:spTgt spid="5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8" presetClass="emph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animRot by="21600000">
                                      <p:cBhvr>
                                        <p:cTn id="69" dur="2000" fill="hold"/>
                                        <p:tgtEl>
                                          <p:spTgt spid="5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0" presetID="8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800000">
                                      <p:cBhvr>
                                        <p:cTn id="71" dur="2000" fill="hold"/>
                                        <p:tgtEl>
                                          <p:spTgt spid="53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2" presetID="9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4" dur="1000"/>
                                        <p:tgtEl>
                                          <p:spTgt spid="5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8" presetClass="emph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animRot by="21600000">
                                      <p:cBhvr>
                                        <p:cTn id="78" dur="2000" fill="hold"/>
                                        <p:tgtEl>
                                          <p:spTgt spid="5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9" presetID="8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800000">
                                      <p:cBhvr>
                                        <p:cTn id="80" dur="2000" fill="hold"/>
                                        <p:tgtEl>
                                          <p:spTgt spid="53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81" presetID="9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3" dur="1000"/>
                                        <p:tgtEl>
                                          <p:spTgt spid="5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8" presetClass="emph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animRot by="21600000">
                                      <p:cBhvr>
                                        <p:cTn id="87" dur="2000" fill="hold"/>
                                        <p:tgtEl>
                                          <p:spTgt spid="5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88" presetID="8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800000">
                                      <p:cBhvr>
                                        <p:cTn id="89" dur="2000" fill="hold"/>
                                        <p:tgtEl>
                                          <p:spTgt spid="53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0" presetID="9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2" dur="1000"/>
                                        <p:tgtEl>
                                          <p:spTgt spid="5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8" presetClass="emph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animRot by="21600000">
                                      <p:cBhvr>
                                        <p:cTn id="96" dur="2000" fill="hold"/>
                                        <p:tgtEl>
                                          <p:spTgt spid="5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7" presetID="8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800000">
                                      <p:cBhvr>
                                        <p:cTn id="98" dur="2000" fill="hold"/>
                                        <p:tgtEl>
                                          <p:spTgt spid="53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9" presetID="9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1" dur="1000"/>
                                        <p:tgtEl>
                                          <p:spTgt spid="5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8" presetClass="emph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animRot by="21600000">
                                      <p:cBhvr>
                                        <p:cTn id="105" dur="2000" fill="hold"/>
                                        <p:tgtEl>
                                          <p:spTgt spid="5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6" presetID="8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1800000">
                                      <p:cBhvr>
                                        <p:cTn id="107" dur="2000" fill="hold"/>
                                        <p:tgtEl>
                                          <p:spTgt spid="53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8" presetID="9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0" dur="1000"/>
                                        <p:tgtEl>
                                          <p:spTgt spid="5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5" grpId="0" animBg="1"/>
      <p:bldP spid="546" grpId="0" animBg="1"/>
      <p:bldP spid="547" grpId="0" animBg="1"/>
      <p:bldP spid="548" grpId="0" animBg="1"/>
      <p:bldP spid="549" grpId="0" animBg="1"/>
      <p:bldP spid="550" grpId="0" animBg="1"/>
      <p:bldP spid="551" grpId="0" animBg="1"/>
      <p:bldP spid="552" grpId="0" animBg="1"/>
      <p:bldP spid="553" grpId="0" animBg="1"/>
      <p:bldP spid="554" grpId="0" animBg="1"/>
      <p:bldP spid="555" grpId="0"/>
      <p:bldP spid="55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451792"/>
            <a:ext cx="10515600" cy="1325563"/>
          </a:xfrm>
        </p:spPr>
        <p:txBody>
          <a:bodyPr>
            <a:noAutofit/>
          </a:bodyPr>
          <a:lstStyle/>
          <a:p>
            <a:pPr algn="ctr"/>
            <a:r>
              <a:rPr lang="en-US" sz="4800" b="1" dirty="0" err="1" smtClean="0">
                <a:solidFill>
                  <a:schemeClr val="accent6">
                    <a:lumMod val="50000"/>
                  </a:schemeClr>
                </a:solidFill>
                <a:latin typeface="NikoshBAN" panose="02000000000000000000" pitchFamily="2" charset="0"/>
                <a:cs typeface="NikoshBAN" panose="02000000000000000000" pitchFamily="2" charset="0"/>
              </a:rPr>
              <a:t>মূল্যায়ন</a:t>
            </a:r>
            <a:endParaRPr lang="en-US" sz="4800" dirty="0">
              <a:solidFill>
                <a:schemeClr val="accent6">
                  <a:lumMod val="50000"/>
                </a:schemeClr>
              </a:solidFill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24843" y="1834445"/>
            <a:ext cx="6542314" cy="60781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200" b="1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রাষ্ট্রীয়</a:t>
            </a:r>
            <a:r>
              <a:rPr lang="en-US" sz="3200" b="1" dirty="0" smtClean="0"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3200" b="1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ব্যবসায়ের</a:t>
            </a:r>
            <a:r>
              <a:rPr lang="en-US" sz="3200" b="1" dirty="0" smtClean="0"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3200" b="1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মূল</a:t>
            </a:r>
            <a:r>
              <a:rPr lang="en-US" sz="3200" b="1" dirty="0" smtClean="0"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3200" b="1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লক্ষ্য</a:t>
            </a:r>
            <a:r>
              <a:rPr lang="en-US" sz="3200" b="1" dirty="0" smtClean="0"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3200" b="1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কোনটি</a:t>
            </a:r>
            <a:r>
              <a:rPr lang="en-US" sz="3200" b="1" dirty="0" smtClean="0">
                <a:latin typeface="NikoshBAN" panose="02000000000000000000" pitchFamily="2" charset="0"/>
                <a:cs typeface="NikoshBAN" panose="02000000000000000000" pitchFamily="2" charset="0"/>
              </a:rPr>
              <a:t>?</a:t>
            </a:r>
            <a:endParaRPr lang="en-US" sz="3200" dirty="0" smtClean="0"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4" name="Donut 3"/>
          <p:cNvSpPr/>
          <p:nvPr/>
        </p:nvSpPr>
        <p:spPr>
          <a:xfrm>
            <a:off x="6096000" y="2499349"/>
            <a:ext cx="593261" cy="588181"/>
          </a:xfrm>
          <a:prstGeom prst="donut">
            <a:avLst>
              <a:gd name="adj" fmla="val 10614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220417" y="2542539"/>
            <a:ext cx="31467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NikoshBAN" panose="02000000000000000000" pitchFamily="2" charset="0"/>
                <a:cs typeface="NikoshBAN" panose="02000000000000000000" pitchFamily="2" charset="0"/>
              </a:rPr>
              <a:t>খ) </a:t>
            </a:r>
            <a:r>
              <a:rPr lang="en-US" sz="28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জনকল্যাণ</a:t>
            </a:r>
            <a:r>
              <a:rPr lang="en-US" sz="2800" dirty="0" smtClean="0"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সাধন</a:t>
            </a:r>
            <a:r>
              <a:rPr lang="en-US" sz="2800" dirty="0" smtClean="0"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করা</a:t>
            </a:r>
            <a:endParaRPr lang="en-US" sz="2800" dirty="0"/>
          </a:p>
        </p:txBody>
      </p:sp>
      <p:sp>
        <p:nvSpPr>
          <p:cNvPr id="7" name="TextBox 6"/>
          <p:cNvSpPr txBox="1"/>
          <p:nvPr/>
        </p:nvSpPr>
        <p:spPr>
          <a:xfrm>
            <a:off x="2813267" y="3065759"/>
            <a:ext cx="34071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NikoshBAN" panose="02000000000000000000" pitchFamily="2" charset="0"/>
                <a:cs typeface="NikoshBAN" panose="02000000000000000000" pitchFamily="2" charset="0"/>
              </a:rPr>
              <a:t>গ) </a:t>
            </a:r>
            <a:r>
              <a:rPr lang="en-US" sz="28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আঞ্চলিক</a:t>
            </a:r>
            <a:r>
              <a:rPr lang="en-US" sz="2800" dirty="0" smtClean="0"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বৈষম্য</a:t>
            </a:r>
            <a:r>
              <a:rPr lang="en-US" sz="2800" dirty="0" smtClean="0"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দূরীকরণ</a:t>
            </a:r>
            <a:endParaRPr lang="en-US" sz="2800" dirty="0"/>
          </a:p>
        </p:txBody>
      </p:sp>
      <p:sp>
        <p:nvSpPr>
          <p:cNvPr id="8" name="TextBox 7"/>
          <p:cNvSpPr txBox="1"/>
          <p:nvPr/>
        </p:nvSpPr>
        <p:spPr>
          <a:xfrm>
            <a:off x="6220417" y="3065759"/>
            <a:ext cx="32823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NikoshBAN" panose="02000000000000000000" pitchFamily="2" charset="0"/>
                <a:cs typeface="NikoshBAN" panose="02000000000000000000" pitchFamily="2" charset="0"/>
              </a:rPr>
              <a:t>ঘ) </a:t>
            </a:r>
            <a:r>
              <a:rPr lang="en-US" sz="28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মূল্যের</a:t>
            </a:r>
            <a:r>
              <a:rPr lang="en-US" sz="2800" dirty="0" smtClean="0"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স্থিতিশীলতা</a:t>
            </a:r>
            <a:r>
              <a:rPr lang="en-US" sz="2800" dirty="0" smtClean="0"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রক্ষা</a:t>
            </a:r>
            <a:endParaRPr lang="en-US" sz="2800" dirty="0"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813268" y="2542539"/>
            <a:ext cx="25458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>
                <a:latin typeface="NikoshBAN" panose="02000000000000000000" pitchFamily="2" charset="0"/>
                <a:cs typeface="NikoshBAN" panose="02000000000000000000" pitchFamily="2" charset="0"/>
              </a:rPr>
              <a:t>ক) </a:t>
            </a:r>
            <a:r>
              <a:rPr lang="en-US" sz="28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মুনাফা</a:t>
            </a:r>
            <a:r>
              <a:rPr lang="en-US" sz="2800" dirty="0" smtClean="0"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অর্জন</a:t>
            </a:r>
            <a:r>
              <a:rPr lang="en-US" sz="2800" dirty="0" smtClean="0"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en-US" sz="2800" dirty="0" err="1" smtClean="0">
                <a:latin typeface="NikoshBAN" panose="02000000000000000000" pitchFamily="2" charset="0"/>
                <a:cs typeface="NikoshBAN" panose="02000000000000000000" pitchFamily="2" charset="0"/>
              </a:rPr>
              <a:t>করা</a:t>
            </a:r>
            <a:endParaRPr lang="en-US" sz="2800" dirty="0"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37510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9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9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0070C0"/>
                                      </p:to>
                                    </p:animClr>
                                    <p:animClr clrSpc="rgb" dir="cw">
                                      <p:cBhvr>
                                        <p:cTn id="10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0070C0"/>
                                      </p:to>
                                    </p:animClr>
                                    <p:set>
                                      <p:cBhvr>
                                        <p:cTn id="11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2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rchery_POWER_USER_SEPARATOR_ICONS_on-target_POWER_USER_SEPARATOR_ICONS_relevant_POWER_USER_SEPARATOR_ICONS_target-shootin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inking*idea*reflecti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agreement_POWER_USER_SEPARATOR_ICONS_deal_POWER_USER_SEPARATOR_ICONS_partnership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gaphone_POWER_USER_SEPARATOR_ICONS_amplify_POWER_USER_SEPARATOR_ICONS_announcement_POWER_USER_SEPARATOR_ICONS_loudspeaker_POWER_USER_SEPARATOR_ICONS_rally_POWER_USER_SEPARATOR_ICONS_speech_POWER_USER_SEPARATOR_ICONS_yell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gaphone_POWER_USER_SEPARATOR_ICONS_amplify_POWER_USER_SEPARATOR_ICONS_announcement_POWER_USER_SEPARATOR_ICONS_loudspeaker_POWER_USER_SEPARATOR_ICONS_rally_POWER_USER_SEPARATOR_ICONS_speech_POWER_USER_SEPARATOR_ICONS_yell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gaphone_POWER_USER_SEPARATOR_ICONS_amplify_POWER_USER_SEPARATOR_ICONS_announcement_POWER_USER_SEPARATOR_ICONS_loudspeaker_POWER_USER_SEPARATOR_ICONS_rally_POWER_USER_SEPARATOR_ICONS_speech_POWER_USER_SEPARATOR_ICONS_yell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istribution-site_POWER_USER_SEPARATOR_ICONS_box_POWER_USER_SEPARATOR_ICONS_cardboard_POWER_USER_SEPARATOR_ICONS_factory_POWER_USER_SEPARATOR_ICONS_humanitarian_POWER_USER_SEPARATOR_ICONS_infrastructure_POWER_USER_SEPARATOR_ICONS_manufacturing_POWER_USER_SEPARATOR_ICONS_warehous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istribution-site_POWER_USER_SEPARATOR_ICONS_box_POWER_USER_SEPARATOR_ICONS_cardboard_POWER_USER_SEPARATOR_ICONS_factory_POWER_USER_SEPARATOR_ICONS_humanitarian_POWER_USER_SEPARATOR_ICONS_infrastructure_POWER_USER_SEPARATOR_ICONS_manufacturing_POWER_USER_SEPARATOR_ICONS_warehous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istribution-site_POWER_USER_SEPARATOR_ICONS_box_POWER_USER_SEPARATOR_ICONS_cardboard_POWER_USER_SEPARATOR_ICONS_factory_POWER_USER_SEPARATOR_ICONS_humanitarian_POWER_USER_SEPARATOR_ICONS_infrastructure_POWER_USER_SEPARATOR_ICONS_manufacturing_POWER_USER_SEPARATOR_ICONS_warehous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istribution-site_POWER_USER_SEPARATOR_ICONS_box_POWER_USER_SEPARATOR_ICONS_cardboard_POWER_USER_SEPARATOR_ICONS_factory_POWER_USER_SEPARATOR_ICONS_humanitarian_POWER_USER_SEPARATOR_ICONS_infrastructure_POWER_USER_SEPARATOR_ICONS_manufacturing_POWER_USER_SEPARATOR_ICONS_warehous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oney bag*bag of money*money bags*money sack*moneybag*sack of money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dea*light bulb*electricity*creativity*innovati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rowdsourcing_POWER_USER_SEPARATOR_ICONS_think_POWER_USER_SEPARATOR_ICONS_teamwork_POWER_USER_SEPARATOR_ICONS_team_POWER_USER_SEPARATOR_ICONS_smart_POWER_USER_SEPARATOR_ICONS_light-bulb_POWER_USER_SEPARATOR_ICONS_idea_POWER_USER_SEPARATOR_ICONS_group_POWER_USER_SEPARATOR_ICONS_collaborate_POWER_USER_SEPARATOR_ICONS_thinki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ock_POWER_USER_SEPARATOR_ICONS_tim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istribution-site_POWER_USER_SEPARATOR_ICONS_box_POWER_USER_SEPARATOR_ICONS_cardboard_POWER_USER_SEPARATOR_ICONS_factory_POWER_USER_SEPARATOR_ICONS_humanitarian_POWER_USER_SEPARATOR_ICONS_infrastructure_POWER_USER_SEPARATOR_ICONS_manufacturing_POWER_USER_SEPARATOR_ICONS_warehous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gaphone_POWER_USER_SEPARATOR_ICONS_amplify_POWER_USER_SEPARATOR_ICONS_announcement_POWER_USER_SEPARATOR_ICONS_loudspeaker_POWER_USER_SEPARATOR_ICONS_rally_POWER_USER_SEPARATOR_ICONS_speech_POWER_USER_SEPARATOR_ICONS_yel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ools*fix*garage*mechanic*screwdriver*settings*tool*tool kit*wrench*work*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96</TotalTime>
  <Words>279</Words>
  <Application>Microsoft Office PowerPoint</Application>
  <PresentationFormat>Widescreen</PresentationFormat>
  <Paragraphs>64</Paragraphs>
  <Slides>1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Arial</vt:lpstr>
      <vt:lpstr>Calibri</vt:lpstr>
      <vt:lpstr>Calibri Light</vt:lpstr>
      <vt:lpstr>Eras Demi ITC</vt:lpstr>
      <vt:lpstr>Gotham</vt:lpstr>
      <vt:lpstr>NikoshBAN</vt:lpstr>
      <vt:lpstr>Sansation Light</vt:lpstr>
      <vt:lpstr>Tw Cen MT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মূল্যায়ন</vt:lpstr>
      <vt:lpstr>মূল্যায়ন</vt:lpstr>
      <vt:lpstr>মূল্যায়ন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zi Nayeem</dc:creator>
  <cp:lastModifiedBy>Gazi Nayeem</cp:lastModifiedBy>
  <cp:revision>118</cp:revision>
  <dcterms:created xsi:type="dcterms:W3CDTF">2019-12-01T09:36:05Z</dcterms:created>
  <dcterms:modified xsi:type="dcterms:W3CDTF">2019-12-23T17:39:52Z</dcterms:modified>
</cp:coreProperties>
</file>